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42"/>
  </p:notesMasterIdLst>
  <p:handoutMasterIdLst>
    <p:handoutMasterId r:id="rId43"/>
  </p:handoutMasterIdLst>
  <p:sldIdLst>
    <p:sldId id="4781" r:id="rId5"/>
    <p:sldId id="3456" r:id="rId6"/>
    <p:sldId id="2211" r:id="rId7"/>
    <p:sldId id="2202" r:id="rId8"/>
    <p:sldId id="4797" r:id="rId9"/>
    <p:sldId id="4777" r:id="rId10"/>
    <p:sldId id="4782" r:id="rId11"/>
    <p:sldId id="4784" r:id="rId12"/>
    <p:sldId id="4785" r:id="rId13"/>
    <p:sldId id="4788" r:id="rId14"/>
    <p:sldId id="4779" r:id="rId15"/>
    <p:sldId id="4789" r:id="rId16"/>
    <p:sldId id="4780" r:id="rId17"/>
    <p:sldId id="4799" r:id="rId18"/>
    <p:sldId id="4798" r:id="rId19"/>
    <p:sldId id="4820" r:id="rId20"/>
    <p:sldId id="4806" r:id="rId21"/>
    <p:sldId id="4807" r:id="rId22"/>
    <p:sldId id="4808" r:id="rId23"/>
    <p:sldId id="4809" r:id="rId24"/>
    <p:sldId id="4810" r:id="rId25"/>
    <p:sldId id="3920" r:id="rId26"/>
    <p:sldId id="4821" r:id="rId27"/>
    <p:sldId id="4793" r:id="rId28"/>
    <p:sldId id="4792" r:id="rId29"/>
    <p:sldId id="4825" r:id="rId30"/>
    <p:sldId id="4822" r:id="rId31"/>
    <p:sldId id="4827" r:id="rId32"/>
    <p:sldId id="4828" r:id="rId33"/>
    <p:sldId id="4824" r:id="rId34"/>
    <p:sldId id="4794" r:id="rId35"/>
    <p:sldId id="4823" r:id="rId36"/>
    <p:sldId id="4818" r:id="rId37"/>
    <p:sldId id="4022" r:id="rId38"/>
    <p:sldId id="4826" r:id="rId39"/>
    <p:sldId id="4817" r:id="rId40"/>
    <p:sldId id="4800" r:id="rId4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74BCF9AA-F1FE-4050-956A-745FDD124901}">
          <p14:sldIdLst>
            <p14:sldId id="4781"/>
            <p14:sldId id="3456"/>
            <p14:sldId id="2211"/>
            <p14:sldId id="2202"/>
            <p14:sldId id="4797"/>
            <p14:sldId id="4777"/>
            <p14:sldId id="4782"/>
            <p14:sldId id="4784"/>
            <p14:sldId id="4785"/>
            <p14:sldId id="4788"/>
            <p14:sldId id="4779"/>
            <p14:sldId id="4789"/>
            <p14:sldId id="4780"/>
            <p14:sldId id="4799"/>
            <p14:sldId id="4798"/>
            <p14:sldId id="4820"/>
            <p14:sldId id="4806"/>
            <p14:sldId id="4807"/>
            <p14:sldId id="4808"/>
            <p14:sldId id="4809"/>
            <p14:sldId id="4810"/>
            <p14:sldId id="3920"/>
            <p14:sldId id="4821"/>
            <p14:sldId id="4793"/>
            <p14:sldId id="4792"/>
            <p14:sldId id="4825"/>
            <p14:sldId id="4822"/>
            <p14:sldId id="4827"/>
            <p14:sldId id="4828"/>
            <p14:sldId id="4824"/>
            <p14:sldId id="4794"/>
            <p14:sldId id="4823"/>
            <p14:sldId id="4818"/>
            <p14:sldId id="4022"/>
            <p14:sldId id="4826"/>
            <p14:sldId id="4817"/>
            <p14:sldId id="480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B55"/>
    <a:srgbClr val="FF0000"/>
    <a:srgbClr val="1A2B68"/>
    <a:srgbClr val="E00016"/>
    <a:srgbClr val="161344"/>
    <a:srgbClr val="DF00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76" y="3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2670"/>
    </p:cViewPr>
  </p:sorterViewPr>
  <p:notesViewPr>
    <p:cSldViewPr snapToGrid="0">
      <p:cViewPr varScale="1">
        <p:scale>
          <a:sx n="85" d="100"/>
          <a:sy n="85" d="100"/>
        </p:scale>
        <p:origin x="388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handoutMaster" Target="handoutMasters/handoutMaster1.xml"/><Relationship Id="rId48" Type="http://schemas.microsoft.com/office/2016/11/relationships/changesInfo" Target="changesInfos/changesInfo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fonteijn" userId="c6f4ca69c8eab71f" providerId="LiveId" clId="{58C5EE58-024E-4DDA-9612-C42C5B2B5C51}"/>
    <pc:docChg chg="custSel modSld">
      <pc:chgData name="robert fonteijn" userId="c6f4ca69c8eab71f" providerId="LiveId" clId="{58C5EE58-024E-4DDA-9612-C42C5B2B5C51}" dt="2022-12-31T16:26:43.921" v="461" actId="255"/>
      <pc:docMkLst>
        <pc:docMk/>
      </pc:docMkLst>
      <pc:sldChg chg="addSp delSp modSp mod">
        <pc:chgData name="robert fonteijn" userId="c6f4ca69c8eab71f" providerId="LiveId" clId="{58C5EE58-024E-4DDA-9612-C42C5B2B5C51}" dt="2022-12-31T16:26:43.921" v="461" actId="255"/>
        <pc:sldMkLst>
          <pc:docMk/>
          <pc:sldMk cId="4217752677" sldId="4591"/>
        </pc:sldMkLst>
        <pc:spChg chg="mod">
          <ac:chgData name="robert fonteijn" userId="c6f4ca69c8eab71f" providerId="LiveId" clId="{58C5EE58-024E-4DDA-9612-C42C5B2B5C51}" dt="2022-12-31T16:26:43.921" v="461" actId="255"/>
          <ac:spMkLst>
            <pc:docMk/>
            <pc:sldMk cId="4217752677" sldId="4591"/>
            <ac:spMk id="2" creationId="{F2C520AD-85BE-4ED7-A74F-50228B9345AD}"/>
          </ac:spMkLst>
        </pc:spChg>
        <pc:spChg chg="del">
          <ac:chgData name="robert fonteijn" userId="c6f4ca69c8eab71f" providerId="LiveId" clId="{58C5EE58-024E-4DDA-9612-C42C5B2B5C51}" dt="2022-12-31T16:16:21.669" v="18" actId="478"/>
          <ac:spMkLst>
            <pc:docMk/>
            <pc:sldMk cId="4217752677" sldId="4591"/>
            <ac:spMk id="3" creationId="{F748B34F-1557-4247-9F07-5BEAA158F7DB}"/>
          </ac:spMkLst>
        </pc:spChg>
        <pc:graphicFrameChg chg="add mod modGraphic">
          <ac:chgData name="robert fonteijn" userId="c6f4ca69c8eab71f" providerId="LiveId" clId="{58C5EE58-024E-4DDA-9612-C42C5B2B5C51}" dt="2022-12-31T16:20:10.368" v="271" actId="1076"/>
          <ac:graphicFrameMkLst>
            <pc:docMk/>
            <pc:sldMk cId="4217752677" sldId="4591"/>
            <ac:graphicFrameMk id="5" creationId="{3F1DDADC-99E2-8591-0908-F01C517CA2CC}"/>
          </ac:graphicFrameMkLst>
        </pc:graphicFrameChg>
      </pc:sldChg>
      <pc:sldChg chg="addSp delSp modSp mod">
        <pc:chgData name="robert fonteijn" userId="c6f4ca69c8eab71f" providerId="LiveId" clId="{58C5EE58-024E-4DDA-9612-C42C5B2B5C51}" dt="2022-12-31T16:26:24.757" v="460" actId="1076"/>
        <pc:sldMkLst>
          <pc:docMk/>
          <pc:sldMk cId="4135937382" sldId="4592"/>
        </pc:sldMkLst>
        <pc:spChg chg="mod">
          <ac:chgData name="robert fonteijn" userId="c6f4ca69c8eab71f" providerId="LiveId" clId="{58C5EE58-024E-4DDA-9612-C42C5B2B5C51}" dt="2022-12-31T16:22:42.845" v="387" actId="255"/>
          <ac:spMkLst>
            <pc:docMk/>
            <pc:sldMk cId="4135937382" sldId="4592"/>
            <ac:spMk id="2" creationId="{F2C520AD-85BE-4ED7-A74F-50228B9345AD}"/>
          </ac:spMkLst>
        </pc:spChg>
        <pc:spChg chg="del">
          <ac:chgData name="robert fonteijn" userId="c6f4ca69c8eab71f" providerId="LiveId" clId="{58C5EE58-024E-4DDA-9612-C42C5B2B5C51}" dt="2022-12-31T16:20:53.956" v="330" actId="478"/>
          <ac:spMkLst>
            <pc:docMk/>
            <pc:sldMk cId="4135937382" sldId="4592"/>
            <ac:spMk id="3" creationId="{F748B34F-1557-4247-9F07-5BEAA158F7DB}"/>
          </ac:spMkLst>
        </pc:spChg>
        <pc:graphicFrameChg chg="add del mod modGraphic">
          <ac:chgData name="robert fonteijn" userId="c6f4ca69c8eab71f" providerId="LiveId" clId="{58C5EE58-024E-4DDA-9612-C42C5B2B5C51}" dt="2022-12-31T16:21:32.560" v="346" actId="478"/>
          <ac:graphicFrameMkLst>
            <pc:docMk/>
            <pc:sldMk cId="4135937382" sldId="4592"/>
            <ac:graphicFrameMk id="5" creationId="{02DC4BF1-E5A5-DC53-FDA8-D424663EA2F5}"/>
          </ac:graphicFrameMkLst>
        </pc:graphicFrameChg>
        <pc:graphicFrameChg chg="add mod modGraphic">
          <ac:chgData name="robert fonteijn" userId="c6f4ca69c8eab71f" providerId="LiveId" clId="{58C5EE58-024E-4DDA-9612-C42C5B2B5C51}" dt="2022-12-31T16:26:24.757" v="460" actId="1076"/>
          <ac:graphicFrameMkLst>
            <pc:docMk/>
            <pc:sldMk cId="4135937382" sldId="4592"/>
            <ac:graphicFrameMk id="6" creationId="{8B5DF2F3-E86D-024C-88F9-BA1E82B82FD1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D9E64823-7194-47F8-B80B-1079FB2F785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947BCA3-35B1-4066-98BA-3F7E05975D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CBA24-8570-45A5-A699-B11C1EF709EA}" type="datetimeFigureOut">
              <a:rPr lang="fr-FR" smtClean="0"/>
              <a:t>05/04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654435-D976-4BE0-BA1E-73D1ED7B6E0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7397EB-E2EA-405F-8E13-05BA0F243A8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FA9E2-F898-48C5-A5ED-3971F346A9D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3170680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F0DB51-8576-4E65-84FF-6E3AB951ECEF}" type="datetimeFigureOut">
              <a:rPr lang="fr-FR" smtClean="0"/>
              <a:t>05/04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F50C1-C784-444A-A592-A82C407FA0F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240454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631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7043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08DED-C866-42FA-BC82-2736822C28B2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8739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gar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66860AA-A521-4502-A997-D90F29D705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2783CCF4-4E38-4186-8379-F80BEA450D2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52" y="5468579"/>
            <a:ext cx="1087396" cy="1087394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61D7481-0A36-45D6-B339-81FEAC96F013}"/>
              </a:ext>
            </a:extLst>
          </p:cNvPr>
          <p:cNvSpPr txBox="1"/>
          <p:nvPr userDrawn="1"/>
        </p:nvSpPr>
        <p:spPr>
          <a:xfrm>
            <a:off x="6427264" y="5994281"/>
            <a:ext cx="4073236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solidFill>
                  <a:schemeClr val="bg1"/>
                </a:solidFill>
              </a:rPr>
              <a:t>« Toute représentation ou reproduction intégrale, ou partielle, faite sans le consentement de l’auteur (…) est illicite »  (</a:t>
            </a:r>
            <a:r>
              <a:rPr lang="fr-FR" sz="900" dirty="0">
                <a:solidFill>
                  <a:schemeClr val="bg1"/>
                </a:solidFill>
              </a:rPr>
              <a:t>alinéa 1</a:t>
            </a:r>
            <a:r>
              <a:rPr lang="fr-FR" sz="900" baseline="30000" dirty="0">
                <a:solidFill>
                  <a:schemeClr val="bg1"/>
                </a:solidFill>
              </a:rPr>
              <a:t>er</a:t>
            </a:r>
            <a:r>
              <a:rPr lang="fr-FR" sz="900" dirty="0">
                <a:solidFill>
                  <a:schemeClr val="bg1"/>
                </a:solidFill>
              </a:rPr>
              <a:t> de l’article 40 de la loi du 11 mars 1957</a:t>
            </a:r>
            <a:r>
              <a:rPr lang="fr-FR" sz="1000" dirty="0">
                <a:solidFill>
                  <a:schemeClr val="bg1"/>
                </a:solidFill>
              </a:rPr>
              <a:t> 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BCDA826A-9FF7-4C9B-87B8-A27DF8C5F5B0}"/>
              </a:ext>
            </a:extLst>
          </p:cNvPr>
          <p:cNvSpPr txBox="1"/>
          <p:nvPr userDrawn="1"/>
        </p:nvSpPr>
        <p:spPr>
          <a:xfrm>
            <a:off x="6605750" y="6387894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000" dirty="0">
                <a:solidFill>
                  <a:schemeClr val="tx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2279009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ère dia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4EB34492-C01D-4ECB-B71B-E35B17ADFE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46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solidFill>
          <a:srgbClr val="E8EBF1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C23BB6-D31D-A14D-B22C-5E5B09E7FC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ext</a:t>
            </a:r>
            <a:r>
              <a:rPr lang="fr-FR" noProof="0" dirty="0"/>
              <a:t> styles</a:t>
            </a:r>
          </a:p>
          <a:p>
            <a:pPr lvl="1"/>
            <a:r>
              <a:rPr lang="fr-FR" noProof="0" dirty="0"/>
              <a:t>Second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2"/>
            <a:r>
              <a:rPr lang="fr-FR" noProof="0" dirty="0" err="1"/>
              <a:t>Third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3"/>
            <a:r>
              <a:rPr lang="fr-FR" noProof="0" dirty="0" err="1"/>
              <a:t>Four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  <a:p>
            <a:pPr lvl="4"/>
            <a:r>
              <a:rPr lang="fr-FR" noProof="0" dirty="0" err="1"/>
              <a:t>Fifth</a:t>
            </a:r>
            <a:r>
              <a:rPr lang="fr-FR" noProof="0" dirty="0"/>
              <a:t> </a:t>
            </a:r>
            <a:r>
              <a:rPr lang="fr-FR" noProof="0" dirty="0" err="1"/>
              <a:t>level</a:t>
            </a:r>
            <a:endParaRPr lang="fr-FR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EC110-D42A-6948-9171-6F28357B8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92E60-F2FE-7C4D-AC81-77B3C78EE203}" type="datetime1">
              <a:rPr lang="en-US" smtClean="0"/>
              <a:t>4/5/2023</a:t>
            </a:fld>
            <a:endParaRPr lang="en-V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38D413-3266-2C4D-A4A7-78BF888749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F8F341-C9AE-0E48-9D97-C2B423E3B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‹N°›</a:t>
            </a:fld>
            <a:endParaRPr lang="en-VN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7780F95-B0B1-AD42-9940-59BA400EAC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6490" y="-49456"/>
            <a:ext cx="10195930" cy="1378755"/>
          </a:xfrm>
        </p:spPr>
        <p:txBody>
          <a:bodyPr>
            <a:normAutofit/>
          </a:bodyPr>
          <a:lstStyle>
            <a:lvl1pPr>
              <a:defRPr sz="4000" b="1">
                <a:solidFill>
                  <a:srgbClr val="08296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4149D2-ED84-3C43-B298-13DE2E3CC886}"/>
              </a:ext>
            </a:extLst>
          </p:cNvPr>
          <p:cNvSpPr/>
          <p:nvPr userDrawn="1"/>
        </p:nvSpPr>
        <p:spPr>
          <a:xfrm>
            <a:off x="1481367" y="948930"/>
            <a:ext cx="9911212" cy="47553"/>
          </a:xfrm>
          <a:prstGeom prst="rect">
            <a:avLst/>
          </a:prstGeom>
          <a:solidFill>
            <a:srgbClr val="08296C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VN"/>
          </a:p>
        </p:txBody>
      </p:sp>
      <p:pic>
        <p:nvPicPr>
          <p:cNvPr id="14" name="Picture 2" descr="École de Commerce EM Normandie - Business School">
            <a:extLst>
              <a:ext uri="{FF2B5EF4-FFF2-40B4-BE49-F238E27FC236}">
                <a16:creationId xmlns:a16="http://schemas.microsoft.com/office/drawing/2014/main" id="{4C7D614A-2732-4042-A512-722A6B83A4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35" y="159026"/>
            <a:ext cx="827321" cy="853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15053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N°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8758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2_slide_power_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609600" y="2133601"/>
            <a:ext cx="10972800" cy="388769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AA61A"/>
              </a:buClr>
              <a:buFont typeface="Wingdings" panose="05000000000000000000" pitchFamily="2" charset="2"/>
              <a:buChar char="§"/>
              <a:defRPr sz="1800" b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1pPr>
            <a:lvl2pPr>
              <a:defRPr sz="1800" b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2pPr>
            <a:lvl3pPr>
              <a:defRPr sz="1800" b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3pPr>
            <a:lvl4pPr>
              <a:defRPr sz="1800" b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4pPr>
            <a:lvl5pPr>
              <a:defRPr sz="1800" b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23392" y="658750"/>
            <a:ext cx="10945216" cy="1457918"/>
          </a:xfrm>
          <a:prstGeom prst="rect">
            <a:avLst/>
          </a:prstGeom>
        </p:spPr>
        <p:txBody>
          <a:bodyPr anchor="ctr"/>
          <a:lstStyle>
            <a:lvl1pPr>
              <a:defRPr sz="3600" b="0">
                <a:solidFill>
                  <a:srgbClr val="ED1C2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648965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6148C26D-0C88-48CB-A3DE-12E20FA002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1D13727-5D29-40AF-BC40-E5633A8C67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38275" y="2466109"/>
            <a:ext cx="9315450" cy="1182256"/>
          </a:xfrm>
        </p:spPr>
        <p:txBody>
          <a:bodyPr anchor="t">
            <a:noAutofit/>
          </a:bodyPr>
          <a:lstStyle>
            <a:lvl1pPr algn="ctr">
              <a:defRPr sz="6000">
                <a:solidFill>
                  <a:schemeClr val="bg1"/>
                </a:solidFill>
                <a:latin typeface="MADE Outer Sans" panose="02000505000000020004" pitchFamily="50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952D2B2-9742-4412-A04B-76AD5508C5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85925" y="3980827"/>
            <a:ext cx="8820150" cy="867398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MADE Outer Sans" panose="0200050500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A7CB479D-8161-48A6-B90D-3FAD794DB5B4}"/>
              </a:ext>
            </a:extLst>
          </p:cNvPr>
          <p:cNvCxnSpPr>
            <a:cxnSpLocks/>
          </p:cNvCxnSpPr>
          <p:nvPr userDrawn="1">
            <p:custDataLst>
              <p:tags r:id="rId1"/>
            </p:custDataLst>
          </p:nvPr>
        </p:nvCxnSpPr>
        <p:spPr>
          <a:xfrm flipH="1">
            <a:off x="5303854" y="2057402"/>
            <a:ext cx="1584293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0C88B69-F0F6-4EBC-954A-A80048EACF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934892" y="445147"/>
            <a:ext cx="216877" cy="5943583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8508DC9-AF2F-47DA-9B08-5390BB3C7A44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8A1872C0-24BF-420C-90F4-933BFEF34F0D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24893623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9F03445-94E0-43C9-9789-AB5EE7E90C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E4F7B39-CE83-4EA7-9549-3DF027A724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30425" y="2496632"/>
            <a:ext cx="7918450" cy="1864735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MADE Outer Sans" panose="02000505000000020004" pitchFamily="50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F1681A1-B054-4BA2-B383-BF56CA45E3E0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3DFFA513-C53F-4B11-AF38-CB03B7FA72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95992" y="445147"/>
            <a:ext cx="226470" cy="5943583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2B1898-EFC7-4F39-B248-B40F466BC87B}"/>
              </a:ext>
            </a:extLst>
          </p:cNvPr>
          <p:cNvSpPr/>
          <p:nvPr userDrawn="1"/>
        </p:nvSpPr>
        <p:spPr>
          <a:xfrm rot="5400000" flipH="1">
            <a:off x="8042872" y="806127"/>
            <a:ext cx="185417" cy="6410739"/>
          </a:xfrm>
          <a:prstGeom prst="rect">
            <a:avLst/>
          </a:prstGeom>
          <a:gradFill>
            <a:gsLst>
              <a:gs pos="0">
                <a:srgbClr val="FF0000"/>
              </a:gs>
              <a:gs pos="100000">
                <a:srgbClr val="0070C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B3660D5-F2D7-46CE-AE70-5E48CB20EF10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3337559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CE24F83-1CAE-4580-860D-BB7D3ABDD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51825"/>
          </a:xfrm>
        </p:spPr>
        <p:txBody>
          <a:bodyPr>
            <a:normAutofit/>
          </a:bodyPr>
          <a:lstStyle>
            <a:lvl1pPr>
              <a:defRPr sz="3200">
                <a:latin typeface="MADE Outer Sans" panose="02000505000000020004" pitchFamily="50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AF476EF-493F-4EFA-9A56-F0902D6888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23278"/>
            <a:ext cx="10515600" cy="5165452"/>
          </a:xfrm>
        </p:spPr>
        <p:txBody>
          <a:bodyPr lIns="54000"/>
          <a:lstStyle>
            <a:lvl1pPr marL="358775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1pPr>
            <a:lvl2pPr marL="536575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2pPr>
            <a:lvl3pPr marL="715963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3pPr>
            <a:lvl4pPr marL="895350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4pPr>
            <a:lvl5pPr marL="1074738" indent="-250825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>
                <a:latin typeface="Avenir Next LT Pro" panose="020B05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39DAABF0-C738-44A2-9C95-B855B578F1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913577" y="445147"/>
            <a:ext cx="208885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62721-922C-480A-8B3C-798F478992BF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79E0953-1E99-4CC3-AC11-197F979993AF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67AEA9FA-2358-4668-9B4E-5513EB0BE54D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81501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A1B87B-7F19-4F5E-80E9-06AEA49DA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37210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630662A-B739-40F8-A97E-571D7C8985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37272"/>
            <a:ext cx="5181600" cy="5251457"/>
          </a:xfrm>
        </p:spPr>
        <p:txBody>
          <a:bodyPr>
            <a:noAutofit/>
          </a:bodyPr>
          <a:lstStyle>
            <a:lvl1pPr marL="358775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53D131D-F8B8-4FC4-98CF-8896DC6636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37273"/>
            <a:ext cx="5181600" cy="5251456"/>
          </a:xfrm>
        </p:spPr>
        <p:txBody>
          <a:bodyPr>
            <a:normAutofit/>
          </a:bodyPr>
          <a:lstStyle>
            <a:lvl1pPr marL="358775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50825" algn="l" defTabSz="914400" rtl="0" eaLnBrk="1" latinLnBrk="0" hangingPunct="1">
              <a:lnSpc>
                <a:spcPct val="10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pied de page 5">
            <a:extLst>
              <a:ext uri="{FF2B5EF4-FFF2-40B4-BE49-F238E27FC236}">
                <a16:creationId xmlns:a16="http://schemas.microsoft.com/office/drawing/2014/main" id="{927DFDA7-9A2F-440B-9CD3-7537BF3943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87200" y="445147"/>
            <a:ext cx="235262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C1FE99F-54DD-457B-9653-6D4D14D88D88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D2BEF23-2A5B-4388-9B2C-11189FCB2926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16C934E-C174-49B7-BCD5-187D88387602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836279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EA4F45-1930-4756-B34C-4417F8F9A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708601"/>
          </a:xfrm>
        </p:spPr>
        <p:txBody>
          <a:bodyPr>
            <a:normAutofit/>
          </a:bodyPr>
          <a:lstStyle>
            <a:lvl1pPr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9DD9890-CBB3-4929-A070-BA754567CD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280054"/>
            <a:ext cx="5157787" cy="708601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7D5BAA2-751C-46B6-BEDE-6A74FE0AF9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1988655"/>
            <a:ext cx="5157787" cy="4400075"/>
          </a:xfrm>
        </p:spPr>
        <p:txBody>
          <a:bodyPr>
            <a:normAutofit/>
          </a:bodyPr>
          <a:lstStyle>
            <a:lvl1pPr marL="358775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2595E2C-4405-4D2F-ADE0-0779457148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280054"/>
            <a:ext cx="5183188" cy="708601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468CBD5D-1880-4646-8E20-A6196CE913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94427" y="1988655"/>
            <a:ext cx="5183188" cy="4400075"/>
          </a:xfrm>
        </p:spPr>
        <p:txBody>
          <a:bodyPr/>
          <a:lstStyle>
            <a:lvl1pPr marL="358775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 smtClean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28600" algn="l" defTabSz="914400" rtl="0" eaLnBrk="1" latinLnBrk="0" hangingPunct="1">
              <a:lnSpc>
                <a:spcPct val="9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pied de page 5">
            <a:extLst>
              <a:ext uri="{FF2B5EF4-FFF2-40B4-BE49-F238E27FC236}">
                <a16:creationId xmlns:a16="http://schemas.microsoft.com/office/drawing/2014/main" id="{E13464AA-59D4-48E1-8C71-41F23CB4CB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87200" y="445147"/>
            <a:ext cx="235262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1303350-3B46-43F2-9D2A-79D03CCCC9CE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C9D71694-6DA5-42F2-8A1E-C370FCE7619C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7BD5098-084A-409B-ADEE-F43534824DF7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339356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6797D-4E8E-44E8-AB66-E487B741F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771236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5DD8B0-9A4A-4231-8BE3-BE9B9AC314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41903"/>
            <a:ext cx="6172200" cy="5943582"/>
          </a:xfrm>
        </p:spPr>
        <p:txBody>
          <a:bodyPr>
            <a:normAutofit/>
          </a:bodyPr>
          <a:lstStyle>
            <a:lvl1pPr marL="358775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28600" algn="l" defTabSz="914400" rtl="0" eaLnBrk="1" latinLnBrk="0" hangingPunct="1">
              <a:lnSpc>
                <a:spcPct val="150000"/>
              </a:lnSpc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AB90F1F-C336-482B-A835-7639074B64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293091"/>
            <a:ext cx="3932237" cy="5095639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FB5F23BF-6D18-4506-8A96-F32F580A53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939954" y="445147"/>
            <a:ext cx="182508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506E46-3287-4B1B-B5CC-49612CCC773E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705EE86-67E3-40AF-ADE6-FBEB54971D3B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E2A0076-511F-446B-96C1-CA4750F9046E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28227967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EF4989-205F-494E-9482-A2328A293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762000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770B2CA-A695-4C5D-B1C1-D4335BD474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41902"/>
            <a:ext cx="6172200" cy="594358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D934540-7467-430B-A215-E79FEB4D1D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283855"/>
            <a:ext cx="3932237" cy="510487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80EAA261-3357-424C-9424-ABDB9513F5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913577" y="445147"/>
            <a:ext cx="208886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684D30-9ECA-4D0B-9664-07616B9CA3B1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E4080E9-2E08-4515-AED2-D62FB75ED457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0F0BCEF-8ACC-4170-9E2A-C8CFC691033B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4031021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6797D-4E8E-44E8-AB66-E487B741F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937491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3200" kern="1200" dirty="0">
                <a:solidFill>
                  <a:schemeClr val="tx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55DD8B0-9A4A-4231-8BE3-BE9B9AC314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4000" y="457200"/>
            <a:ext cx="6172200" cy="5931529"/>
          </a:xfrm>
          <a:ln>
            <a:noFill/>
          </a:ln>
        </p:spPr>
        <p:txBody>
          <a:bodyPr>
            <a:normAutofit/>
          </a:bodyPr>
          <a:lstStyle>
            <a:lvl1pPr marL="358775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1pPr>
            <a:lvl2pPr marL="536575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24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2pPr>
            <a:lvl3pPr marL="715963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20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3pPr>
            <a:lvl4pPr marL="895350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18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4pPr>
            <a:lvl5pPr marL="1074738" indent="-228600" algn="l" defTabSz="4680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rgbClr val="D31019"/>
              </a:buClr>
              <a:buFont typeface="Wingdings" panose="05000000000000000000" pitchFamily="2" charset="2"/>
              <a:buChar char="§"/>
              <a:defRPr lang="fr-FR" sz="1600" kern="1200" dirty="0">
                <a:solidFill>
                  <a:schemeClr val="tx1"/>
                </a:solidFill>
                <a:latin typeface="Avenir Next LT Pro" panose="020B0504020202020204" pitchFamily="34" charset="0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AB90F1F-C336-482B-A835-7639074B64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524243"/>
            <a:ext cx="3932237" cy="486448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337BDF7A-B78B-49B3-9BB9-73272BB0AA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887200" y="445147"/>
            <a:ext cx="235262" cy="5943583"/>
          </a:xfrm>
        </p:spPr>
        <p:txBody>
          <a:bodyPr/>
          <a:lstStyle>
            <a:lvl1pPr>
              <a:defRPr sz="900"/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3321AD-A29C-4F83-A56F-A01DADD1A681}"/>
              </a:ext>
            </a:extLst>
          </p:cNvPr>
          <p:cNvSpPr/>
          <p:nvPr userDrawn="1"/>
        </p:nvSpPr>
        <p:spPr>
          <a:xfrm>
            <a:off x="0" y="6457950"/>
            <a:ext cx="12192000" cy="400050"/>
          </a:xfrm>
          <a:prstGeom prst="rect">
            <a:avLst/>
          </a:prstGeom>
          <a:solidFill>
            <a:srgbClr val="1A2B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136F15D-C884-46ED-9774-2ADDBD4D4D40}"/>
              </a:ext>
            </a:extLst>
          </p:cNvPr>
          <p:cNvSpPr txBox="1"/>
          <p:nvPr userDrawn="1"/>
        </p:nvSpPr>
        <p:spPr>
          <a:xfrm>
            <a:off x="9803423" y="6527170"/>
            <a:ext cx="2239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schemeClr val="bg1"/>
                </a:solidFill>
              </a:rPr>
              <a:t>EM Normandie Business School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AC33E2B-E95D-4E35-B1DD-0509BBFFEB0D}"/>
              </a:ext>
            </a:extLst>
          </p:cNvPr>
          <p:cNvSpPr txBox="1"/>
          <p:nvPr userDrawn="1"/>
        </p:nvSpPr>
        <p:spPr>
          <a:xfrm>
            <a:off x="87490" y="6538111"/>
            <a:ext cx="40732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00" dirty="0">
                <a:solidFill>
                  <a:schemeClr val="bg1"/>
                </a:solidFill>
              </a:rPr>
              <a:t> © Tous droits réservés - All rights reserved - 2022</a:t>
            </a:r>
          </a:p>
        </p:txBody>
      </p:sp>
    </p:spTree>
    <p:extLst>
      <p:ext uri="{BB962C8B-B14F-4D97-AF65-F5344CB8AC3E}">
        <p14:creationId xmlns:p14="http://schemas.microsoft.com/office/powerpoint/2010/main" val="4240654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6CC5A-5B4F-45B3-8A0E-DD3C49FF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6A293E-6747-405B-A4E7-F16B27CF22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D892BE9-37DC-42CE-AAA8-CC2FEADF30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87199" y="523081"/>
            <a:ext cx="234462" cy="5811837"/>
          </a:xfrm>
          <a:prstGeom prst="rect">
            <a:avLst/>
          </a:prstGeom>
        </p:spPr>
        <p:txBody>
          <a:bodyPr vert="vert270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Indiquez votre nom dans le pied de p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017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72" r:id="rId7"/>
    <p:sldLayoutId id="2147483673" r:id="rId8"/>
    <p:sldLayoutId id="2147483668" r:id="rId9"/>
    <p:sldLayoutId id="2147483674" r:id="rId10"/>
    <p:sldLayoutId id="2147483680" r:id="rId11"/>
    <p:sldLayoutId id="2147483681" r:id="rId12"/>
    <p:sldLayoutId id="2147483683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project-management.com/understanding-responsibility-assignment-matrix-raci-matrix/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2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7.jpe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95953896-08BA-43CF-BD03-9A71748C4B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85949" y="5521332"/>
            <a:ext cx="8820150" cy="867398"/>
          </a:xfrm>
        </p:spPr>
        <p:txBody>
          <a:bodyPr>
            <a:normAutofit/>
          </a:bodyPr>
          <a:lstStyle/>
          <a:p>
            <a:r>
              <a:rPr lang="fr-FR" sz="3600" dirty="0">
                <a:latin typeface="+mj-lt"/>
              </a:rPr>
              <a:t>Robert Fonteijn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093D9F0-9257-48BC-9CCF-E04892DB67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787C3AEA-A554-C3AE-BA73-8DFF80BB92DC}"/>
              </a:ext>
            </a:extLst>
          </p:cNvPr>
          <p:cNvSpPr txBox="1">
            <a:spLocks/>
          </p:cNvSpPr>
          <p:nvPr/>
        </p:nvSpPr>
        <p:spPr>
          <a:xfrm>
            <a:off x="651163" y="1413848"/>
            <a:ext cx="10889673" cy="20151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MADE Outer Sans" panose="02000505000000020004" pitchFamily="50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3600"/>
              </a:spcAft>
            </a:pPr>
            <a:r>
              <a:rPr lang="fr-FR" sz="4800" dirty="0">
                <a:latin typeface="+mj-lt"/>
              </a:rPr>
              <a:t>MSc AI for marketing </a:t>
            </a:r>
            <a:r>
              <a:rPr lang="fr-FR" sz="4800" dirty="0" err="1">
                <a:latin typeface="+mj-lt"/>
              </a:rPr>
              <a:t>strategy</a:t>
            </a:r>
            <a:endParaRPr lang="fr-FR" sz="4800" dirty="0">
              <a:latin typeface="+mj-lt"/>
            </a:endParaRPr>
          </a:p>
          <a:p>
            <a:pPr>
              <a:lnSpc>
                <a:spcPct val="100000"/>
              </a:lnSpc>
              <a:spcAft>
                <a:spcPts val="3600"/>
              </a:spcAft>
            </a:pPr>
            <a:r>
              <a:rPr lang="fr-FR" sz="4400" dirty="0">
                <a:latin typeface="+mj-lt"/>
              </a:rPr>
              <a:t>Project Management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fr-FR" sz="4400" dirty="0">
                <a:latin typeface="+mj-lt"/>
              </a:rPr>
              <a:t>Session #2</a:t>
            </a:r>
            <a:endParaRPr lang="fr-FR" sz="4000" dirty="0"/>
          </a:p>
        </p:txBody>
      </p:sp>
    </p:spTree>
    <p:extLst>
      <p:ext uri="{BB962C8B-B14F-4D97-AF65-F5344CB8AC3E}">
        <p14:creationId xmlns:p14="http://schemas.microsoft.com/office/powerpoint/2010/main" val="15068852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A3EFE1-9D70-4CDB-6340-BCD762CC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fr-FR" sz="4000" dirty="0" err="1">
                <a:latin typeface="+mj-lt"/>
              </a:rPr>
              <a:t>Exercise</a:t>
            </a:r>
            <a:r>
              <a:rPr lang="fr-FR" sz="4000" dirty="0">
                <a:latin typeface="+mj-lt"/>
              </a:rPr>
              <a:t> – in team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5E220E0-E463-FF72-915F-84E45AFF6E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34113"/>
            <a:ext cx="10515600" cy="4540213"/>
          </a:xfrm>
        </p:spPr>
        <p:txBody>
          <a:bodyPr>
            <a:noAutofit/>
          </a:bodyPr>
          <a:lstStyle/>
          <a:p>
            <a:pPr marL="107950" indent="0">
              <a:buNone/>
            </a:pP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d </a:t>
            </a:r>
            <a:r>
              <a:rPr lang="fr-FR" dirty="0">
                <a:solidFill>
                  <a:srgbClr val="0563C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 https://project-management.com/understanding-responsibility-assignment-matrix-raci-matrix/</a:t>
            </a:r>
            <a:endParaRPr lang="fr-FR" dirty="0">
              <a:latin typeface="+mj-lt"/>
            </a:endParaRPr>
          </a:p>
          <a:p>
            <a:pPr marL="107950" indent="0">
              <a:buNone/>
            </a:pP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… and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draw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up a RACI chart for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rojec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.</a:t>
            </a:r>
          </a:p>
          <a:p>
            <a:pPr marL="107950" indent="0">
              <a:buNone/>
            </a:pPr>
            <a:endParaRPr lang="fr-FR" dirty="0">
              <a:solidFill>
                <a:schemeClr val="bg1">
                  <a:lumMod val="10000"/>
                </a:schemeClr>
              </a:solidFill>
              <a:latin typeface="+mj-lt"/>
            </a:endParaRPr>
          </a:p>
          <a:p>
            <a:pPr marL="107950" indent="0">
              <a:buNone/>
            </a:pPr>
            <a:r>
              <a:rPr lang="fr-FR" b="1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25’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0C745C-A79E-9032-937B-E2C9F59B7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7FCB09D-281D-8A82-A11D-E5DAFF0EBD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4388" y="3674247"/>
            <a:ext cx="2526060" cy="252606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F16966D-14FE-2E96-8E84-36B1AF8F69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2368" y="3112174"/>
            <a:ext cx="2526060" cy="252606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F3E19F8-0513-3B45-AF69-84EFE3C98A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2360" y="2171422"/>
            <a:ext cx="1809986" cy="199261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6288AB7-AA4B-82B3-5F6F-D9971C7B92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63206" y="4097383"/>
            <a:ext cx="2328203" cy="209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0399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A3EFE1-9D70-4CDB-6340-BCD762CC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RACI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0C745C-A79E-9032-937B-E2C9F59B7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414CAC9-AED5-57DF-6E6A-AD43ACD2C0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48105"/>
            <a:ext cx="9753600" cy="3114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1227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A3EFE1-9D70-4CDB-6340-BCD762CC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fr-FR" sz="4000" dirty="0" err="1">
                <a:latin typeface="+mj-lt"/>
              </a:rPr>
              <a:t>Exercise</a:t>
            </a:r>
            <a:r>
              <a:rPr lang="fr-FR" sz="4000" dirty="0">
                <a:latin typeface="+mj-lt"/>
              </a:rPr>
              <a:t> – in team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5E220E0-E463-FF72-915F-84E45AFF6E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33780"/>
            <a:ext cx="10515600" cy="1783158"/>
          </a:xfrm>
        </p:spPr>
        <p:txBody>
          <a:bodyPr>
            <a:noAutofit/>
          </a:bodyPr>
          <a:lstStyle/>
          <a:p>
            <a:pPr marL="107950" indent="0">
              <a:buNone/>
            </a:pP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leas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draw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up a stakeholder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analysis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for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rojec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.</a:t>
            </a:r>
          </a:p>
          <a:p>
            <a:pPr marL="107950" indent="0">
              <a:buNone/>
            </a:pPr>
            <a:endParaRPr lang="fr-FR" dirty="0">
              <a:solidFill>
                <a:schemeClr val="bg1">
                  <a:lumMod val="10000"/>
                </a:schemeClr>
              </a:solidFill>
              <a:latin typeface="+mj-lt"/>
            </a:endParaRPr>
          </a:p>
          <a:p>
            <a:pPr marL="107950" indent="0">
              <a:buNone/>
            </a:pPr>
            <a:r>
              <a:rPr lang="fr-FR" b="1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20’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0C745C-A79E-9032-937B-E2C9F59B7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161A373-5BB5-2DE5-08CC-E2C643BA9E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1106" y="1016313"/>
            <a:ext cx="2189949" cy="2189949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BE1A8663-3E08-C923-BE38-D72E17E1B0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5383" y="2725046"/>
            <a:ext cx="2609728" cy="260972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D1DFC6E-E28D-BF09-55A6-ED22C75B49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8835" y="4034405"/>
            <a:ext cx="1873879" cy="206295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B87F58E-6E29-B08D-5BA7-BCE944BD65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8400" y="3441063"/>
            <a:ext cx="2609728" cy="2347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5060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A3EFE1-9D70-4CDB-6340-BCD762CC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Stakeholder </a:t>
            </a:r>
            <a:r>
              <a:rPr lang="fr-FR" sz="4000" dirty="0" err="1">
                <a:latin typeface="+mj-lt"/>
              </a:rPr>
              <a:t>analysis</a:t>
            </a:r>
            <a:endParaRPr lang="fr-FR" sz="4000" dirty="0">
              <a:latin typeface="+mj-lt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5E220E0-E463-FF72-915F-84E45AFF6E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23278"/>
            <a:ext cx="10515600" cy="3722795"/>
          </a:xfrm>
        </p:spPr>
        <p:txBody>
          <a:bodyPr/>
          <a:lstStyle/>
          <a:p>
            <a:pPr marL="107950" indent="0">
              <a:buNone/>
            </a:pPr>
            <a:r>
              <a:rPr lang="en-US" b="0" i="0" dirty="0">
                <a:solidFill>
                  <a:srgbClr val="202124"/>
                </a:solidFill>
                <a:effectLst/>
                <a:latin typeface="+mj-lt"/>
              </a:rPr>
              <a:t>A stakeholder analysis is a process of identifying these people before the project begins; grouping them according to their levels of participation, interest, and influence in the project; and determining how best to involve and communicate each of these stakeholder groups throughout.</a:t>
            </a:r>
            <a:endParaRPr lang="fr-FR" dirty="0">
              <a:latin typeface="+mj-lt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0C745C-A79E-9032-937B-E2C9F59B7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587864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A3EFE1-9D70-4CDB-6340-BCD762CC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Five </a:t>
            </a:r>
            <a:r>
              <a:rPr lang="fr-FR" sz="4000" dirty="0" err="1">
                <a:latin typeface="+mj-lt"/>
              </a:rPr>
              <a:t>steps</a:t>
            </a:r>
            <a:endParaRPr lang="fr-FR" sz="4000" dirty="0">
              <a:latin typeface="+mj-lt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0C745C-A79E-9032-937B-E2C9F59B7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53A6D0E6-5615-B2D7-CCE4-6B4C7B3721CC}"/>
              </a:ext>
            </a:extLst>
          </p:cNvPr>
          <p:cNvSpPr txBox="1"/>
          <p:nvPr/>
        </p:nvSpPr>
        <p:spPr>
          <a:xfrm>
            <a:off x="838200" y="1249462"/>
            <a:ext cx="10841182" cy="32571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b="0" i="0" dirty="0">
                <a:solidFill>
                  <a:srgbClr val="202124"/>
                </a:solidFill>
                <a:effectLst/>
                <a:latin typeface="+mj-lt"/>
              </a:rPr>
              <a:t>Identify the stakeholders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202124"/>
                </a:solidFill>
                <a:latin typeface="+mj-lt"/>
              </a:rPr>
              <a:t>C</a:t>
            </a:r>
            <a:r>
              <a:rPr lang="en-US" sz="2800" b="0" i="0" dirty="0">
                <a:solidFill>
                  <a:srgbClr val="202124"/>
                </a:solidFill>
                <a:effectLst/>
                <a:latin typeface="+mj-lt"/>
              </a:rPr>
              <a:t>larify the interest of each stakeholder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202124"/>
                </a:solidFill>
                <a:latin typeface="+mj-lt"/>
              </a:rPr>
              <a:t>Clarify the influence of each stakeholder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b="0" i="0" dirty="0">
                <a:solidFill>
                  <a:srgbClr val="202124"/>
                </a:solidFill>
                <a:effectLst/>
                <a:latin typeface="+mj-lt"/>
              </a:rPr>
              <a:t>Determine the process of engagement between stakeholders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dirty="0">
                <a:solidFill>
                  <a:srgbClr val="202124"/>
                </a:solidFill>
                <a:latin typeface="+mj-lt"/>
              </a:rPr>
              <a:t>M</a:t>
            </a:r>
            <a:r>
              <a:rPr lang="en-US" sz="2800" b="0" i="0" dirty="0">
                <a:solidFill>
                  <a:srgbClr val="202124"/>
                </a:solidFill>
                <a:effectLst/>
                <a:latin typeface="+mj-lt"/>
              </a:rPr>
              <a:t>anage the relationship with stakeholders from a PM point of view.</a:t>
            </a:r>
            <a:endParaRPr lang="fr-FR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492643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BCCB285-45DA-5B4C-C5FF-C2037383B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707" y="445147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A tabl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207E986-EC28-3141-5A24-A0BE5FE4033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graphicFrame>
        <p:nvGraphicFramePr>
          <p:cNvPr id="5" name="Tableau 5">
            <a:extLst>
              <a:ext uri="{FF2B5EF4-FFF2-40B4-BE49-F238E27FC236}">
                <a16:creationId xmlns:a16="http://schemas.microsoft.com/office/drawing/2014/main" id="{F35A8DE7-F9DF-C666-3997-CF45F74C76B4}"/>
              </a:ext>
            </a:extLst>
          </p:cNvPr>
          <p:cNvGraphicFramePr>
            <a:graphicFrameLocks noGrp="1"/>
          </p:cNvGraphicFramePr>
          <p:nvPr/>
        </p:nvGraphicFramePr>
        <p:xfrm>
          <a:off x="535707" y="1343120"/>
          <a:ext cx="11377870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5574">
                  <a:extLst>
                    <a:ext uri="{9D8B030D-6E8A-4147-A177-3AD203B41FA5}">
                      <a16:colId xmlns:a16="http://schemas.microsoft.com/office/drawing/2014/main" val="1991856822"/>
                    </a:ext>
                  </a:extLst>
                </a:gridCol>
                <a:gridCol w="2275574">
                  <a:extLst>
                    <a:ext uri="{9D8B030D-6E8A-4147-A177-3AD203B41FA5}">
                      <a16:colId xmlns:a16="http://schemas.microsoft.com/office/drawing/2014/main" val="3007745830"/>
                    </a:ext>
                  </a:extLst>
                </a:gridCol>
                <a:gridCol w="2275574">
                  <a:extLst>
                    <a:ext uri="{9D8B030D-6E8A-4147-A177-3AD203B41FA5}">
                      <a16:colId xmlns:a16="http://schemas.microsoft.com/office/drawing/2014/main" val="3273182353"/>
                    </a:ext>
                  </a:extLst>
                </a:gridCol>
                <a:gridCol w="2275574">
                  <a:extLst>
                    <a:ext uri="{9D8B030D-6E8A-4147-A177-3AD203B41FA5}">
                      <a16:colId xmlns:a16="http://schemas.microsoft.com/office/drawing/2014/main" val="3446424176"/>
                    </a:ext>
                  </a:extLst>
                </a:gridCol>
                <a:gridCol w="2275574">
                  <a:extLst>
                    <a:ext uri="{9D8B030D-6E8A-4147-A177-3AD203B41FA5}">
                      <a16:colId xmlns:a16="http://schemas.microsoft.com/office/drawing/2014/main" val="40591493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+mj-lt"/>
                        </a:rPr>
                        <a:t>Stakeholders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 err="1">
                          <a:latin typeface="+mj-lt"/>
                        </a:rPr>
                        <a:t>Interest</a:t>
                      </a:r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+mj-lt"/>
                        </a:rPr>
                        <a:t>Influence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 err="1">
                          <a:latin typeface="+mj-lt"/>
                        </a:rPr>
                        <a:t>Intra-process</a:t>
                      </a:r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+mj-lt"/>
                        </a:rPr>
                        <a:t>Managemen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115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>
                          <a:latin typeface="+mj-lt"/>
                        </a:rPr>
                        <a:t>1.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805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>
                          <a:latin typeface="+mj-lt"/>
                        </a:rPr>
                        <a:t>2.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205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>
                          <a:latin typeface="+mj-lt"/>
                        </a:rPr>
                        <a:t>3.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919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 err="1">
                          <a:latin typeface="+mj-lt"/>
                        </a:rPr>
                        <a:t>Etc</a:t>
                      </a:r>
                      <a:endParaRPr lang="fr-FR" sz="2400" dirty="0">
                        <a:latin typeface="+mj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j-lt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88069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2156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C520AD-85BE-4ED7-A74F-50228B934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562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Agenda for </a:t>
            </a:r>
            <a:r>
              <a:rPr lang="fr-FR" sz="4000" dirty="0" err="1">
                <a:latin typeface="+mj-lt"/>
              </a:rPr>
              <a:t>this</a:t>
            </a:r>
            <a:r>
              <a:rPr lang="fr-FR" sz="4000" dirty="0">
                <a:latin typeface="+mj-lt"/>
              </a:rPr>
              <a:t> S2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748B34F-1557-4247-9F07-5BEAA158F7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05354"/>
            <a:ext cx="10515600" cy="4297920"/>
          </a:xfrm>
        </p:spPr>
        <p:txBody>
          <a:bodyPr>
            <a:noAutofit/>
          </a:bodyPr>
          <a:lstStyle/>
          <a:p>
            <a:pPr marL="622300" indent="-514350">
              <a:buFont typeface="+mj-lt"/>
              <a:buAutoNum type="arabicPeriod"/>
            </a:pP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Finishing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up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ith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the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exercises</a:t>
            </a: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r>
              <a:rPr lang="fr-FR" sz="3200" b="1" dirty="0">
                <a:solidFill>
                  <a:schemeClr val="bg1">
                    <a:lumMod val="10000"/>
                  </a:schemeClr>
                </a:solidFill>
              </a:rPr>
              <a:t>Risk management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aterfall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vs Agile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Gantt charts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WB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CFC9A4-9001-475C-8C50-84EC9F117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nter your name in the footer</a:t>
            </a:r>
            <a:endParaRPr lang="fr-FR" dirty="0"/>
          </a:p>
        </p:txBody>
      </p:sp>
      <p:pic>
        <p:nvPicPr>
          <p:cNvPr id="5" name="Picture 2" descr="Making a Case for New Project Management Solutions">
            <a:extLst>
              <a:ext uri="{FF2B5EF4-FFF2-40B4-BE49-F238E27FC236}">
                <a16:creationId xmlns:a16="http://schemas.microsoft.com/office/drawing/2014/main" id="{C46EDEDA-0A14-93DB-01D9-29BABB332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5502" y="2115025"/>
            <a:ext cx="6576498" cy="3288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36643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D49D88-956C-AC9A-797F-459BC36D1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268" y="237183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Risk source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6FCD6A4-C70B-C6EC-391D-045DF5951A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728242D-E831-D2B0-8D70-6A53630EA6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0357368"/>
              </p:ext>
            </p:extLst>
          </p:nvPr>
        </p:nvGraphicFramePr>
        <p:xfrm>
          <a:off x="838200" y="893086"/>
          <a:ext cx="10470662" cy="4830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8782">
                  <a:extLst>
                    <a:ext uri="{9D8B030D-6E8A-4147-A177-3AD203B41FA5}">
                      <a16:colId xmlns:a16="http://schemas.microsoft.com/office/drawing/2014/main" val="977867183"/>
                    </a:ext>
                  </a:extLst>
                </a:gridCol>
                <a:gridCol w="7401880">
                  <a:extLst>
                    <a:ext uri="{9D8B030D-6E8A-4147-A177-3AD203B41FA5}">
                      <a16:colId xmlns:a16="http://schemas.microsoft.com/office/drawing/2014/main" val="34003007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2400" b="1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isk source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2400" b="1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Description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637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2400" b="0" dirty="0">
                          <a:solidFill>
                            <a:schemeClr val="tx1"/>
                          </a:solidFill>
                        </a:rPr>
                        <a:t>Risk repositor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Historical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data of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isk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of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completed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project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. Can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be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used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to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identify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potential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isk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endParaRPr lang="fr-FR" sz="2400" b="0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37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2400" b="0" dirty="0">
                          <a:solidFill>
                            <a:schemeClr val="tx1"/>
                          </a:solidFill>
                        </a:rPr>
                        <a:t>Checklist </a:t>
                      </a:r>
                      <a:r>
                        <a:rPr lang="fr-FR" sz="2400" b="0" dirty="0" err="1">
                          <a:solidFill>
                            <a:schemeClr val="tx1"/>
                          </a:solidFill>
                        </a:rPr>
                        <a:t>analysis</a:t>
                      </a:r>
                      <a:endParaRPr lang="fr-FR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A questionnaire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that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help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identify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potential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isk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endParaRPr lang="fr-FR" sz="2400" b="0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6072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2400" b="0" dirty="0">
                          <a:solidFill>
                            <a:schemeClr val="tx1"/>
                          </a:solidFill>
                        </a:rPr>
                        <a:t>Expert </a:t>
                      </a:r>
                      <a:r>
                        <a:rPr lang="fr-FR" sz="2400" b="0" dirty="0" err="1">
                          <a:solidFill>
                            <a:schemeClr val="tx1"/>
                          </a:solidFill>
                        </a:rPr>
                        <a:t>judgment</a:t>
                      </a:r>
                      <a:endParaRPr lang="fr-FR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Interviews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with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experienced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project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managers,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subject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matter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 experts and stakeholders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endParaRPr lang="fr-FR" sz="2400" b="0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382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fr-FR" sz="2800" b="0" dirty="0">
                          <a:solidFill>
                            <a:schemeClr val="tx1"/>
                          </a:solidFill>
                        </a:rPr>
                        <a:t>Project </a:t>
                      </a:r>
                      <a:r>
                        <a:rPr lang="fr-FR" sz="2800" b="0" dirty="0" err="1">
                          <a:solidFill>
                            <a:schemeClr val="tx1"/>
                          </a:solidFill>
                        </a:rPr>
                        <a:t>status</a:t>
                      </a:r>
                      <a:endParaRPr lang="fr-FR" sz="28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fr-FR" sz="2400" b="0" dirty="0">
                          <a:solidFill>
                            <a:schemeClr val="tx1"/>
                          </a:solidFill>
                        </a:rPr>
                        <a:t>The files of </a:t>
                      </a:r>
                      <a:r>
                        <a:rPr lang="fr-FR" sz="2400" b="0" dirty="0" err="1">
                          <a:solidFill>
                            <a:schemeClr val="tx1"/>
                          </a:solidFill>
                        </a:rPr>
                        <a:t>status</a:t>
                      </a:r>
                      <a:r>
                        <a:rPr lang="fr-FR" sz="2400" b="0" dirty="0">
                          <a:solidFill>
                            <a:schemeClr val="tx1"/>
                          </a:solidFill>
                        </a:rPr>
                        <a:t> reports, </a:t>
                      </a:r>
                      <a:r>
                        <a:rPr lang="fr-FR" sz="2400" b="0" dirty="0" err="1">
                          <a:solidFill>
                            <a:schemeClr val="tx1"/>
                          </a:solidFill>
                        </a:rPr>
                        <a:t>quality</a:t>
                      </a:r>
                      <a:r>
                        <a:rPr lang="fr-FR" sz="2400" b="0" dirty="0">
                          <a:solidFill>
                            <a:schemeClr val="tx1"/>
                          </a:solidFill>
                        </a:rPr>
                        <a:t> reports, meeting reports etc.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2546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57754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D163F2-01EE-30CF-F411-A6BA18804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824" y="323562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Risk </a:t>
            </a:r>
            <a:r>
              <a:rPr lang="fr-FR" sz="4000" dirty="0" err="1">
                <a:latin typeface="+mj-lt"/>
              </a:rPr>
              <a:t>categories</a:t>
            </a:r>
            <a:endParaRPr lang="fr-FR" sz="4000" dirty="0">
              <a:latin typeface="+mj-lt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F4A9F7B-28D4-B9A4-867C-61983D8CFB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FD06E654-64B9-EF7B-937C-B9F21EDB67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8809828"/>
              </p:ext>
            </p:extLst>
          </p:nvPr>
        </p:nvGraphicFramePr>
        <p:xfrm>
          <a:off x="580293" y="1299796"/>
          <a:ext cx="10470662" cy="3136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50713">
                  <a:extLst>
                    <a:ext uri="{9D8B030D-6E8A-4147-A177-3AD203B41FA5}">
                      <a16:colId xmlns:a16="http://schemas.microsoft.com/office/drawing/2014/main" val="977867183"/>
                    </a:ext>
                  </a:extLst>
                </a:gridCol>
                <a:gridCol w="7219949">
                  <a:extLst>
                    <a:ext uri="{9D8B030D-6E8A-4147-A177-3AD203B41FA5}">
                      <a16:colId xmlns:a16="http://schemas.microsoft.com/office/drawing/2014/main" val="34003007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400" b="1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isk </a:t>
                      </a:r>
                      <a:r>
                        <a:rPr lang="fr-FR" sz="2400" b="1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category</a:t>
                      </a:r>
                      <a:endParaRPr lang="fr-FR" sz="2400" b="1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400" b="1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Comments</a:t>
                      </a:r>
                      <a:endParaRPr lang="fr-FR" sz="2400" b="1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637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400" b="0" dirty="0" err="1">
                          <a:solidFill>
                            <a:schemeClr val="tx1"/>
                          </a:solidFill>
                        </a:rPr>
                        <a:t>Technical</a:t>
                      </a:r>
                      <a:endParaRPr lang="fr-FR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200"/>
                        </a:spcAft>
                      </a:pP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equirement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technology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interfaces, performance,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quality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…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37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400" b="0" dirty="0" err="1">
                          <a:solidFill>
                            <a:schemeClr val="tx1"/>
                          </a:solidFill>
                        </a:rPr>
                        <a:t>External</a:t>
                      </a:r>
                      <a:endParaRPr lang="fr-FR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200"/>
                        </a:spcAft>
                      </a:pP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Customer,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contract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market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supplier…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6072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400" b="0" dirty="0" err="1">
                          <a:solidFill>
                            <a:schemeClr val="tx1"/>
                          </a:solidFill>
                        </a:rPr>
                        <a:t>Organisational</a:t>
                      </a:r>
                      <a:endParaRPr lang="fr-FR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200"/>
                        </a:spcAft>
                      </a:pP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Dependencie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logistic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esource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budgets…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382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400" b="0" dirty="0">
                          <a:solidFill>
                            <a:schemeClr val="tx1"/>
                          </a:solidFill>
                        </a:rPr>
                        <a:t>Project-</a:t>
                      </a:r>
                      <a:r>
                        <a:rPr lang="fr-FR" sz="2400" b="0" dirty="0" err="1">
                          <a:solidFill>
                            <a:schemeClr val="tx1"/>
                          </a:solidFill>
                        </a:rPr>
                        <a:t>related</a:t>
                      </a:r>
                      <a:endParaRPr lang="fr-FR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200"/>
                        </a:spcAft>
                      </a:pP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Planning,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schedule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estimates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communication…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2546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90213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D163F2-01EE-30CF-F411-A6BA18804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014" y="171296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Risk </a:t>
            </a:r>
            <a:r>
              <a:rPr lang="fr-FR" sz="4000" dirty="0" err="1">
                <a:latin typeface="+mj-lt"/>
              </a:rPr>
              <a:t>exposure</a:t>
            </a:r>
            <a:endParaRPr lang="fr-FR" sz="4000" dirty="0">
              <a:latin typeface="+mj-lt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F4A9F7B-28D4-B9A4-867C-61983D8CFB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graphicFrame>
        <p:nvGraphicFramePr>
          <p:cNvPr id="5" name="Table 9">
            <a:extLst>
              <a:ext uri="{FF2B5EF4-FFF2-40B4-BE49-F238E27FC236}">
                <a16:creationId xmlns:a16="http://schemas.microsoft.com/office/drawing/2014/main" id="{861D290E-AEA7-0601-5470-C79DF99E62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309199"/>
              </p:ext>
            </p:extLst>
          </p:nvPr>
        </p:nvGraphicFramePr>
        <p:xfrm>
          <a:off x="592014" y="1040359"/>
          <a:ext cx="9771185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14347">
                  <a:extLst>
                    <a:ext uri="{9D8B030D-6E8A-4147-A177-3AD203B41FA5}">
                      <a16:colId xmlns:a16="http://schemas.microsoft.com/office/drawing/2014/main" val="2180348638"/>
                    </a:ext>
                  </a:extLst>
                </a:gridCol>
                <a:gridCol w="5856838">
                  <a:extLst>
                    <a:ext uri="{9D8B030D-6E8A-4147-A177-3AD203B41FA5}">
                      <a16:colId xmlns:a16="http://schemas.microsoft.com/office/drawing/2014/main" val="17995328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sz="240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Probability</a:t>
                      </a:r>
                      <a:endParaRPr lang="fr-FR" sz="2400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Description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2481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/>
                        <a:t>High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2400" dirty="0"/>
                        <a:t>80 – 100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7312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/>
                        <a:t>Medium-High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2400" dirty="0"/>
                        <a:t>60 – 80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945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/>
                        <a:t>Medium-Low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2400" dirty="0"/>
                        <a:t>30 – 60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987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/>
                        <a:t>Low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2400" dirty="0"/>
                        <a:t>0 – 30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5981823"/>
                  </a:ext>
                </a:extLst>
              </a:tr>
            </a:tbl>
          </a:graphicData>
        </a:graphic>
      </p:graphicFrame>
      <p:graphicFrame>
        <p:nvGraphicFramePr>
          <p:cNvPr id="6" name="Table 10">
            <a:extLst>
              <a:ext uri="{FF2B5EF4-FFF2-40B4-BE49-F238E27FC236}">
                <a16:creationId xmlns:a16="http://schemas.microsoft.com/office/drawing/2014/main" id="{19BFF91A-41CD-2532-5A0F-167F8645F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645610"/>
              </p:ext>
            </p:extLst>
          </p:nvPr>
        </p:nvGraphicFramePr>
        <p:xfrm>
          <a:off x="592015" y="3543597"/>
          <a:ext cx="9771184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37247">
                  <a:extLst>
                    <a:ext uri="{9D8B030D-6E8A-4147-A177-3AD203B41FA5}">
                      <a16:colId xmlns:a16="http://schemas.microsoft.com/office/drawing/2014/main" val="2476436292"/>
                    </a:ext>
                  </a:extLst>
                </a:gridCol>
                <a:gridCol w="5833937">
                  <a:extLst>
                    <a:ext uri="{9D8B030D-6E8A-4147-A177-3AD203B41FA5}">
                      <a16:colId xmlns:a16="http://schemas.microsoft.com/office/drawing/2014/main" val="2425928564"/>
                    </a:ext>
                  </a:extLst>
                </a:gridCol>
              </a:tblGrid>
              <a:tr h="236167"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Rating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Description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6797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High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240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Catastrophic</a:t>
                      </a:r>
                      <a:r>
                        <a:rPr lang="fr-FR" sz="240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rating A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5052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Mediu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Critical, Rating B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185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Low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Low – Marginal, Rating C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250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335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2952297" y="1341595"/>
            <a:ext cx="15397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wareness</a:t>
            </a:r>
            <a:endParaRPr 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1811076" y="1916833"/>
            <a:ext cx="14574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 err="1"/>
              <a:t>Emotional</a:t>
            </a:r>
            <a:endParaRPr lang="en-US" sz="2400" dirty="0"/>
          </a:p>
        </p:txBody>
      </p:sp>
      <p:sp>
        <p:nvSpPr>
          <p:cNvPr id="8" name="ZoneTexte 7"/>
          <p:cNvSpPr txBox="1"/>
          <p:nvPr/>
        </p:nvSpPr>
        <p:spPr>
          <a:xfrm>
            <a:off x="8328248" y="1346973"/>
            <a:ext cx="132151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urchase</a:t>
            </a:r>
            <a:endParaRPr 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889624" y="5398411"/>
            <a:ext cx="12109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ational</a:t>
            </a:r>
            <a:endParaRPr lang="en-US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Flèche droite 9"/>
          <p:cNvSpPr/>
          <p:nvPr/>
        </p:nvSpPr>
        <p:spPr>
          <a:xfrm>
            <a:off x="4782814" y="1444102"/>
            <a:ext cx="3312368" cy="36004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lèche droite 10"/>
          <p:cNvSpPr/>
          <p:nvPr/>
        </p:nvSpPr>
        <p:spPr>
          <a:xfrm rot="5400000">
            <a:off x="1036542" y="3745272"/>
            <a:ext cx="2946236" cy="36004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Connecteur droit 12"/>
          <p:cNvCxnSpPr/>
          <p:nvPr/>
        </p:nvCxnSpPr>
        <p:spPr>
          <a:xfrm>
            <a:off x="6583412" y="1916832"/>
            <a:ext cx="72008" cy="4016920"/>
          </a:xfrm>
          <a:prstGeom prst="line">
            <a:avLst/>
          </a:prstGeom>
          <a:ln w="38100">
            <a:solidFill>
              <a:schemeClr val="accent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>
            <a:off x="3990204" y="3913584"/>
            <a:ext cx="5499097" cy="0"/>
          </a:xfrm>
          <a:prstGeom prst="line">
            <a:avLst/>
          </a:prstGeom>
          <a:ln w="38100">
            <a:solidFill>
              <a:schemeClr val="accent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/>
          <p:cNvSpPr txBox="1"/>
          <p:nvPr/>
        </p:nvSpPr>
        <p:spPr>
          <a:xfrm>
            <a:off x="4353172" y="2715012"/>
            <a:ext cx="15228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 err="1"/>
              <a:t>Entertain</a:t>
            </a:r>
            <a:endParaRPr lang="en-US" sz="2800" dirty="0"/>
          </a:p>
        </p:txBody>
      </p:sp>
      <p:sp>
        <p:nvSpPr>
          <p:cNvPr id="18" name="ZoneTexte 17"/>
          <p:cNvSpPr txBox="1"/>
          <p:nvPr/>
        </p:nvSpPr>
        <p:spPr>
          <a:xfrm>
            <a:off x="7193209" y="4572384"/>
            <a:ext cx="15107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 err="1"/>
              <a:t>Convince</a:t>
            </a:r>
            <a:endParaRPr lang="en-US" sz="2800" dirty="0"/>
          </a:p>
        </p:txBody>
      </p:sp>
      <p:sp>
        <p:nvSpPr>
          <p:cNvPr id="19" name="ZoneTexte 18"/>
          <p:cNvSpPr txBox="1"/>
          <p:nvPr/>
        </p:nvSpPr>
        <p:spPr>
          <a:xfrm>
            <a:off x="4511869" y="4587437"/>
            <a:ext cx="13442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 err="1"/>
              <a:t>Educate</a:t>
            </a:r>
            <a:endParaRPr lang="en-US" sz="2800" dirty="0"/>
          </a:p>
        </p:txBody>
      </p:sp>
      <p:sp>
        <p:nvSpPr>
          <p:cNvPr id="20" name="ZoneTexte 19"/>
          <p:cNvSpPr txBox="1"/>
          <p:nvPr/>
        </p:nvSpPr>
        <p:spPr>
          <a:xfrm>
            <a:off x="7283965" y="2708920"/>
            <a:ext cx="11737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Inspire</a:t>
            </a:r>
            <a:endParaRPr lang="en-US" sz="2800" dirty="0"/>
          </a:p>
        </p:txBody>
      </p:sp>
      <p:sp>
        <p:nvSpPr>
          <p:cNvPr id="12" name="ZoneTexte 11"/>
          <p:cNvSpPr txBox="1"/>
          <p:nvPr/>
        </p:nvSpPr>
        <p:spPr>
          <a:xfrm>
            <a:off x="428007" y="295886"/>
            <a:ext cx="54425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model for a </a:t>
            </a:r>
            <a:r>
              <a:rPr lang="fr-FR" sz="36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</a:t>
            </a:r>
            <a:endParaRPr lang="en-US" sz="36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86588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D163F2-01EE-30CF-F411-A6BA18804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64" y="228656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Risk impact – on 3 </a:t>
            </a:r>
            <a:r>
              <a:rPr lang="fr-FR" sz="4000" dirty="0" err="1">
                <a:latin typeface="+mj-lt"/>
              </a:rPr>
              <a:t>levels</a:t>
            </a:r>
            <a:endParaRPr lang="fr-FR" sz="4000" dirty="0">
              <a:latin typeface="+mj-lt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F4A9F7B-28D4-B9A4-867C-61983D8CFB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019E6848-7C67-742C-4DB4-B16831DD0A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472784"/>
              </p:ext>
            </p:extLst>
          </p:nvPr>
        </p:nvGraphicFramePr>
        <p:xfrm>
          <a:off x="171450" y="1016002"/>
          <a:ext cx="12020550" cy="43141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5138">
                  <a:extLst>
                    <a:ext uri="{9D8B030D-6E8A-4147-A177-3AD203B41FA5}">
                      <a16:colId xmlns:a16="http://schemas.microsoft.com/office/drawing/2014/main" val="2797311132"/>
                    </a:ext>
                  </a:extLst>
                </a:gridCol>
                <a:gridCol w="2976562">
                  <a:extLst>
                    <a:ext uri="{9D8B030D-6E8A-4147-A177-3AD203B41FA5}">
                      <a16:colId xmlns:a16="http://schemas.microsoft.com/office/drawing/2014/main" val="3512028704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4229331778"/>
                    </a:ext>
                  </a:extLst>
                </a:gridCol>
                <a:gridCol w="3676650">
                  <a:extLst>
                    <a:ext uri="{9D8B030D-6E8A-4147-A177-3AD203B41FA5}">
                      <a16:colId xmlns:a16="http://schemas.microsoft.com/office/drawing/2014/main" val="20619667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Objectives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C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Medium </a:t>
                      </a:r>
                      <a:r>
                        <a:rPr lang="fr-FR" sz="24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low</a:t>
                      </a: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, Low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B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Medium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24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Medium high, High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7437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 err="1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Cost</a:t>
                      </a: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23410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60546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Scop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909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 err="1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Quality</a:t>
                      </a: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endParaRPr lang="fr-FR" sz="28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5866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23582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D163F2-01EE-30CF-F411-A6BA18804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863" y="445147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Risk occurrence: </a:t>
            </a:r>
            <a:r>
              <a:rPr lang="fr-FR" sz="4000" dirty="0" err="1">
                <a:latin typeface="+mj-lt"/>
              </a:rPr>
              <a:t>timeframe</a:t>
            </a:r>
            <a:endParaRPr lang="fr-FR" sz="4000" dirty="0">
              <a:latin typeface="+mj-lt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F4A9F7B-28D4-B9A4-867C-61983D8CFB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2DD1B0BA-B1AC-382F-2A30-E7F62093AD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8618851"/>
              </p:ext>
            </p:extLst>
          </p:nvPr>
        </p:nvGraphicFramePr>
        <p:xfrm>
          <a:off x="663863" y="1243830"/>
          <a:ext cx="10045700" cy="327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8150">
                  <a:extLst>
                    <a:ext uri="{9D8B030D-6E8A-4147-A177-3AD203B41FA5}">
                      <a16:colId xmlns:a16="http://schemas.microsoft.com/office/drawing/2014/main" val="3826277237"/>
                    </a:ext>
                  </a:extLst>
                </a:gridCol>
                <a:gridCol w="7067550">
                  <a:extLst>
                    <a:ext uri="{9D8B030D-6E8A-4147-A177-3AD203B41FA5}">
                      <a16:colId xmlns:a16="http://schemas.microsoft.com/office/drawing/2014/main" val="404670089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Timeframe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</a:rPr>
                        <a:t>Description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17045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dirty="0"/>
                        <a:t>Nea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dirty="0" err="1"/>
                        <a:t>Now</a:t>
                      </a:r>
                      <a:r>
                        <a:rPr lang="fr-FR" sz="2800" dirty="0"/>
                        <a:t> to 1 </a:t>
                      </a:r>
                      <a:r>
                        <a:rPr lang="fr-FR" sz="2800" dirty="0" err="1"/>
                        <a:t>month</a:t>
                      </a:r>
                      <a:endParaRPr lang="fr-FR" sz="28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2618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dirty="0" err="1"/>
                        <a:t>Mid</a:t>
                      </a:r>
                      <a:endParaRPr lang="fr-FR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dirty="0"/>
                        <a:t>Next 2 to 6 </a:t>
                      </a:r>
                      <a:r>
                        <a:rPr lang="fr-FR" sz="2800" dirty="0" err="1"/>
                        <a:t>months</a:t>
                      </a:r>
                      <a:endParaRPr lang="fr-FR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1805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dirty="0"/>
                        <a:t>Fa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dirty="0"/>
                        <a:t>Over 6 </a:t>
                      </a:r>
                      <a:r>
                        <a:rPr lang="fr-FR" sz="2800" dirty="0" err="1"/>
                        <a:t>months</a:t>
                      </a:r>
                      <a:endParaRPr lang="fr-FR" sz="28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20309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24075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C78821-8E16-48FA-AD2C-313A3F33D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Géopolitique et influence des marchés</a:t>
            </a:r>
            <a:endParaRPr lang="fr-FR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E338D8-E791-4CC4-B77A-92355552F1BE}"/>
              </a:ext>
            </a:extLst>
          </p:cNvPr>
          <p:cNvSpPr txBox="1"/>
          <p:nvPr/>
        </p:nvSpPr>
        <p:spPr>
          <a:xfrm>
            <a:off x="8468590" y="0"/>
            <a:ext cx="352442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dirty="0" err="1">
                <a:latin typeface="+mj-lt"/>
              </a:rPr>
              <a:t>Exercise</a:t>
            </a:r>
            <a:r>
              <a:rPr lang="fr-FR" sz="4000" dirty="0">
                <a:latin typeface="+mj-lt"/>
              </a:rPr>
              <a:t> - tea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86631D-FA26-45EF-8A13-56261DC9913C}"/>
              </a:ext>
            </a:extLst>
          </p:cNvPr>
          <p:cNvSpPr txBox="1"/>
          <p:nvPr/>
        </p:nvSpPr>
        <p:spPr>
          <a:xfrm>
            <a:off x="198984" y="679069"/>
            <a:ext cx="9791700" cy="56938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arenR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What risks can you identify for your projects  Why are they a risk? </a:t>
            </a:r>
            <a:endParaRPr lang="fr-FR" sz="2400" dirty="0">
              <a:solidFill>
                <a:schemeClr val="bg1">
                  <a:lumMod val="10000"/>
                </a:schemeClr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arenR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What kind of impacts does each of your identified risks have? Can you categorise these as low impact, medium impact, or high impact? </a:t>
            </a:r>
            <a:endParaRPr lang="fr-FR" sz="2400" dirty="0">
              <a:solidFill>
                <a:schemeClr val="bg1">
                  <a:lumMod val="10000"/>
                </a:schemeClr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arenR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How probable are each of your identified risks? Categorise them as not very likely, likely, and highly likely to occur. </a:t>
            </a:r>
            <a:endParaRPr lang="fr-FR" sz="2400" dirty="0">
              <a:solidFill>
                <a:schemeClr val="bg1">
                  <a:lumMod val="10000"/>
                </a:schemeClr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arenR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What would you analyse as the three most critical risks? </a:t>
            </a:r>
            <a:endParaRPr lang="fr-FR" sz="2400" dirty="0">
              <a:solidFill>
                <a:schemeClr val="bg1">
                  <a:lumMod val="10000"/>
                </a:schemeClr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arenR"/>
            </a:pPr>
            <a:r>
              <a:rPr lang="en-GB" sz="2400" dirty="0">
                <a:solidFill>
                  <a:schemeClr val="bg1">
                    <a:lumMod val="10000"/>
                  </a:schemeClr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What would you suggest to do about these three risks? Are there specific actions to deal with these risks? Can you identify a contingency plan to carry out if the risk occurs?</a:t>
            </a:r>
          </a:p>
          <a:p>
            <a:pPr lvl="0">
              <a:spcBef>
                <a:spcPts val="1200"/>
              </a:spcBef>
              <a:spcAft>
                <a:spcPts val="1200"/>
              </a:spcAft>
            </a:pPr>
            <a:r>
              <a:rPr lang="en-GB" sz="2400" b="1" dirty="0">
                <a:solidFill>
                  <a:schemeClr val="bg1">
                    <a:lumMod val="10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20’</a:t>
            </a:r>
            <a:endParaRPr lang="fr-FR" sz="2400" b="1" dirty="0">
              <a:solidFill>
                <a:schemeClr val="bg1">
                  <a:lumMod val="10000"/>
                </a:schemeClr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DB62939-B315-0EC0-71DC-D12683E10C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90684" y="516082"/>
            <a:ext cx="1637598" cy="163759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17D1B99-6984-C2ED-B617-CE91DC3999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0684" y="4843438"/>
            <a:ext cx="1512912" cy="151291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AF036EB-69FA-4348-F2FB-579169DE94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84992" y="3498354"/>
            <a:ext cx="1128055" cy="1241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9835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C520AD-85BE-4ED7-A74F-50228B934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562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Agenda for </a:t>
            </a:r>
            <a:r>
              <a:rPr lang="fr-FR" sz="4000" dirty="0" err="1">
                <a:latin typeface="+mj-lt"/>
              </a:rPr>
              <a:t>this</a:t>
            </a:r>
            <a:r>
              <a:rPr lang="fr-FR" sz="4000" dirty="0">
                <a:latin typeface="+mj-lt"/>
              </a:rPr>
              <a:t> S2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748B34F-1557-4247-9F07-5BEAA158F7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05354"/>
            <a:ext cx="10515600" cy="4297920"/>
          </a:xfrm>
        </p:spPr>
        <p:txBody>
          <a:bodyPr>
            <a:noAutofit/>
          </a:bodyPr>
          <a:lstStyle/>
          <a:p>
            <a:pPr marL="622300" indent="-514350">
              <a:buFont typeface="+mj-lt"/>
              <a:buAutoNum type="arabicPeriod"/>
            </a:pP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Finishing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up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ith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the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exercises</a:t>
            </a: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Risk management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b="1" dirty="0" err="1">
                <a:solidFill>
                  <a:schemeClr val="bg1">
                    <a:lumMod val="10000"/>
                  </a:schemeClr>
                </a:solidFill>
              </a:rPr>
              <a:t>Waterfall</a:t>
            </a:r>
            <a:r>
              <a:rPr lang="fr-FR" sz="3200" b="1" dirty="0">
                <a:solidFill>
                  <a:schemeClr val="bg1">
                    <a:lumMod val="10000"/>
                  </a:schemeClr>
                </a:solidFill>
              </a:rPr>
              <a:t> vs Agile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Gantt charts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WB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CFC9A4-9001-475C-8C50-84EC9F117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nter your name in the footer</a:t>
            </a:r>
            <a:endParaRPr lang="fr-FR" dirty="0"/>
          </a:p>
        </p:txBody>
      </p:sp>
      <p:pic>
        <p:nvPicPr>
          <p:cNvPr id="5" name="Picture 2" descr="Making a Case for New Project Management Solutions">
            <a:extLst>
              <a:ext uri="{FF2B5EF4-FFF2-40B4-BE49-F238E27FC236}">
                <a16:creationId xmlns:a16="http://schemas.microsoft.com/office/drawing/2014/main" id="{C46EDEDA-0A14-93DB-01D9-29BABB332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5502" y="2115025"/>
            <a:ext cx="6576498" cy="3288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06009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AE6DEEF-DCC4-9B37-F453-90344DF69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A7DBE57-AD56-FE5B-3A67-B9D9FE9A3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err="1"/>
              <a:t>Please</a:t>
            </a:r>
            <a:r>
              <a:rPr lang="fr-FR" b="0" dirty="0"/>
              <a:t> </a:t>
            </a:r>
            <a:r>
              <a:rPr lang="fr-FR" b="0" dirty="0" err="1"/>
              <a:t>watch</a:t>
            </a:r>
            <a:endParaRPr lang="fr-FR" b="0" dirty="0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AE3EAA6E-2BE7-4A14-9817-92A77F06295D}"/>
              </a:ext>
            </a:extLst>
          </p:cNvPr>
          <p:cNvSpPr txBox="1"/>
          <p:nvPr/>
        </p:nvSpPr>
        <p:spPr>
          <a:xfrm>
            <a:off x="1428749" y="1508862"/>
            <a:ext cx="10458450" cy="2604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0" i="0" dirty="0">
                <a:solidFill>
                  <a:schemeClr val="bg1">
                    <a:lumMod val="10000"/>
                  </a:schemeClr>
                </a:solidFill>
                <a:effectLst/>
                <a:latin typeface="Roboto" panose="02000000000000000000" pitchFamily="2" charset="0"/>
              </a:rPr>
              <a:t>“Steering projects without long-term plans”</a:t>
            </a:r>
          </a:p>
          <a:p>
            <a:pPr>
              <a:lnSpc>
                <a:spcPct val="150000"/>
              </a:lnSpc>
            </a:pPr>
            <a:r>
              <a:rPr lang="en-US" sz="2800" b="0" i="0" dirty="0">
                <a:solidFill>
                  <a:schemeClr val="bg1">
                    <a:lumMod val="10000"/>
                  </a:schemeClr>
                </a:solidFill>
                <a:effectLst/>
                <a:latin typeface="Roboto" panose="02000000000000000000" pitchFamily="2" charset="0"/>
              </a:rPr>
              <a:t>Sommer and </a:t>
            </a:r>
            <a:r>
              <a:rPr lang="en-US" sz="2800" b="0" i="0" dirty="0" err="1">
                <a:solidFill>
                  <a:schemeClr val="bg1">
                    <a:lumMod val="10000"/>
                  </a:schemeClr>
                </a:solidFill>
                <a:effectLst/>
                <a:latin typeface="Roboto" panose="02000000000000000000" pitchFamily="2" charset="0"/>
              </a:rPr>
              <a:t>Wiland</a:t>
            </a:r>
            <a:r>
              <a:rPr lang="en-US" sz="2800" b="0" i="0" dirty="0">
                <a:solidFill>
                  <a:schemeClr val="bg1">
                    <a:lumMod val="10000"/>
                  </a:schemeClr>
                </a:solidFill>
                <a:effectLst/>
                <a:latin typeface="Roboto" panose="02000000000000000000" pitchFamily="2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bg1">
                    <a:lumMod val="10000"/>
                  </a:schemeClr>
                </a:solidFill>
                <a:latin typeface="Roboto" panose="02000000000000000000" pitchFamily="2" charset="0"/>
              </a:rPr>
              <a:t>TED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bg1">
                    <a:lumMod val="10000"/>
                  </a:schemeClr>
                </a:solidFill>
                <a:latin typeface="Roboto" panose="02000000000000000000" pitchFamily="2" charset="0"/>
              </a:rPr>
              <a:t>11’49</a:t>
            </a:r>
            <a:endParaRPr lang="fr-FR" sz="2800" dirty="0">
              <a:solidFill>
                <a:schemeClr val="bg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9838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EE8D82-BE80-1F02-3FBD-0C059C399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DA078A1-21C5-B981-2C02-48020C21D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/>
              <a:t>Possible </a:t>
            </a:r>
            <a:r>
              <a:rPr lang="fr-FR" b="0" dirty="0" err="1"/>
              <a:t>learnings</a:t>
            </a:r>
            <a:endParaRPr lang="fr-FR" b="0" dirty="0"/>
          </a:p>
        </p:txBody>
      </p:sp>
      <p:sp>
        <p:nvSpPr>
          <p:cNvPr id="5" name="TextBox 1">
            <a:extLst>
              <a:ext uri="{FF2B5EF4-FFF2-40B4-BE49-F238E27FC236}">
                <a16:creationId xmlns:a16="http://schemas.microsoft.com/office/drawing/2014/main" id="{BF4F8BB5-2B11-890E-8F7E-7A5C4175C3F5}"/>
              </a:ext>
            </a:extLst>
          </p:cNvPr>
          <p:cNvSpPr txBox="1"/>
          <p:nvPr/>
        </p:nvSpPr>
        <p:spPr>
          <a:xfrm>
            <a:off x="529580" y="1189759"/>
            <a:ext cx="10637226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The notion « 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everything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must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be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recisely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lanned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 »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is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not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terribly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useful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.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Deal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with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the « 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fear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of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failure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 »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roblem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.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Remember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: in the end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it’s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the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resul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tha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matters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, not the plan.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« Scrum » as an agile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rojec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management technique.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This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requires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two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things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:</a:t>
            </a:r>
          </a:p>
          <a:p>
            <a:pPr marL="971550" lvl="1" indent="-514350">
              <a:spcAft>
                <a:spcPts val="1200"/>
              </a:spcAft>
              <a:buFont typeface="+mj-lt"/>
              <a:buAutoNum type="alphaUcPeriod"/>
            </a:pP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Project manager « holding the frame » (not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unlike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a coach).</a:t>
            </a:r>
          </a:p>
          <a:p>
            <a:pPr marL="971550" lvl="1" indent="-514350">
              <a:spcAft>
                <a:spcPts val="1200"/>
              </a:spcAft>
              <a:buFont typeface="+mj-lt"/>
              <a:buAutoNum type="alphaUcPeriod"/>
            </a:pP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Managing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the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contex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/ culture.</a:t>
            </a:r>
            <a:endParaRPr lang="fr-FR" dirty="0">
              <a:solidFill>
                <a:schemeClr val="bg1">
                  <a:lumMod val="1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503656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A3EFE1-9D70-4CDB-6340-BCD762CC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fr-FR" sz="4000" dirty="0" err="1">
                <a:latin typeface="+mj-lt"/>
              </a:rPr>
              <a:t>Exercise</a:t>
            </a:r>
            <a:r>
              <a:rPr lang="fr-FR" sz="4000" dirty="0">
                <a:latin typeface="+mj-lt"/>
              </a:rPr>
              <a:t> – in team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5E220E0-E463-FF72-915F-84E45AFF6E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33780"/>
            <a:ext cx="6005945" cy="1783158"/>
          </a:xfrm>
        </p:spPr>
        <p:txBody>
          <a:bodyPr>
            <a:noAutofit/>
          </a:bodyPr>
          <a:lstStyle/>
          <a:p>
            <a:pPr marL="107950" indent="0">
              <a:lnSpc>
                <a:spcPct val="100000"/>
              </a:lnSpc>
              <a:buNone/>
            </a:pP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leas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articulat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the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differences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in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using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waterfall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vs agile for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rojec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.</a:t>
            </a:r>
          </a:p>
          <a:p>
            <a:pPr marL="107950" indent="0">
              <a:buNone/>
            </a:pPr>
            <a:endParaRPr lang="fr-FR" dirty="0">
              <a:solidFill>
                <a:schemeClr val="bg1">
                  <a:lumMod val="10000"/>
                </a:schemeClr>
              </a:solidFill>
              <a:latin typeface="+mj-lt"/>
            </a:endParaRPr>
          </a:p>
          <a:p>
            <a:pPr marL="107950" indent="0">
              <a:buNone/>
            </a:pPr>
            <a:r>
              <a:rPr lang="fr-FR" b="1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20’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0C745C-A79E-9032-937B-E2C9F59B7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417E37E-23E4-B0D5-08DD-F13C8AADDF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7618" y="411581"/>
            <a:ext cx="2808409" cy="2808409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35B5054-7DF6-B5DB-4CBE-B32E32A55D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7618" y="3871785"/>
            <a:ext cx="2516945" cy="251694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DEF5323-B2DE-45B9-1E2B-89ACF70F21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0540" y="3670691"/>
            <a:ext cx="2174093" cy="239346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B592FFC-F0C2-25F4-74F2-9F32738E39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1046" y="2275664"/>
            <a:ext cx="2459198" cy="2211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6685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C520AD-85BE-4ED7-A74F-50228B934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562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Agenda for </a:t>
            </a:r>
            <a:r>
              <a:rPr lang="fr-FR" sz="4000" dirty="0" err="1">
                <a:latin typeface="+mj-lt"/>
              </a:rPr>
              <a:t>this</a:t>
            </a:r>
            <a:r>
              <a:rPr lang="fr-FR" sz="4000" dirty="0">
                <a:latin typeface="+mj-lt"/>
              </a:rPr>
              <a:t> S2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748B34F-1557-4247-9F07-5BEAA158F7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05354"/>
            <a:ext cx="10515600" cy="4297920"/>
          </a:xfrm>
        </p:spPr>
        <p:txBody>
          <a:bodyPr>
            <a:noAutofit/>
          </a:bodyPr>
          <a:lstStyle/>
          <a:p>
            <a:pPr marL="622300" indent="-514350">
              <a:buFont typeface="+mj-lt"/>
              <a:buAutoNum type="arabicPeriod"/>
            </a:pP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Finishing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up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ith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the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exercises</a:t>
            </a: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Risk management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aterfall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vs Agile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b="1" dirty="0">
                <a:solidFill>
                  <a:schemeClr val="bg1">
                    <a:lumMod val="10000"/>
                  </a:schemeClr>
                </a:solidFill>
              </a:rPr>
              <a:t>Gantt charts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WB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CFC9A4-9001-475C-8C50-84EC9F117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nter your name in the footer</a:t>
            </a:r>
            <a:endParaRPr lang="fr-FR" dirty="0"/>
          </a:p>
        </p:txBody>
      </p:sp>
      <p:pic>
        <p:nvPicPr>
          <p:cNvPr id="5" name="Picture 2" descr="Making a Case for New Project Management Solutions">
            <a:extLst>
              <a:ext uri="{FF2B5EF4-FFF2-40B4-BE49-F238E27FC236}">
                <a16:creationId xmlns:a16="http://schemas.microsoft.com/office/drawing/2014/main" id="{C46EDEDA-0A14-93DB-01D9-29BABB332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5502" y="2115025"/>
            <a:ext cx="6576498" cy="3288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71196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B2D575B-E081-E50E-F593-AAF4F9C1C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28</a:t>
            </a:fld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18BFF74-F085-BEBF-462E-CDAE0D267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ANTT Chart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14E55C9-ADF3-FF35-17E6-29DAA2DD5761}"/>
              </a:ext>
            </a:extLst>
          </p:cNvPr>
          <p:cNvSpPr txBox="1"/>
          <p:nvPr/>
        </p:nvSpPr>
        <p:spPr>
          <a:xfrm>
            <a:off x="529580" y="1120676"/>
            <a:ext cx="10824220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0" i="0" dirty="0">
                <a:solidFill>
                  <a:srgbClr val="212529"/>
                </a:solidFill>
                <a:effectLst/>
              </a:rPr>
              <a:t>A Gantt chart, commonly used in project management, is one of the most popular and useful ways of showing activities (tasks or events) displayed against time. </a:t>
            </a:r>
          </a:p>
          <a:p>
            <a:pPr>
              <a:spcAft>
                <a:spcPts val="1200"/>
              </a:spcAft>
            </a:pPr>
            <a:r>
              <a:rPr lang="en-US" sz="2400" b="0" i="0" dirty="0">
                <a:solidFill>
                  <a:srgbClr val="212529"/>
                </a:solidFill>
                <a:effectLst/>
              </a:rPr>
              <a:t>On the left of the chart is a list of the activities and along the top is a suitable time scale. </a:t>
            </a:r>
          </a:p>
          <a:p>
            <a:pPr>
              <a:spcAft>
                <a:spcPts val="1200"/>
              </a:spcAft>
            </a:pPr>
            <a:r>
              <a:rPr lang="en-US" sz="2400" b="0" i="0" dirty="0">
                <a:solidFill>
                  <a:srgbClr val="212529"/>
                </a:solidFill>
                <a:effectLst/>
              </a:rPr>
              <a:t>Each activity is represented by a bar; the position and length of the bar reflects the start date, duration and end date of the activity. This allows you to see at a glance:</a:t>
            </a:r>
            <a:endParaRPr lang="fr-FR" sz="2400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C9029A4-015C-535C-C58D-70CBB1DC59C2}"/>
              </a:ext>
            </a:extLst>
          </p:cNvPr>
          <p:cNvSpPr txBox="1"/>
          <p:nvPr/>
        </p:nvSpPr>
        <p:spPr>
          <a:xfrm>
            <a:off x="529580" y="4426603"/>
            <a:ext cx="8759686" cy="23083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457200" indent="-457200" algn="l">
              <a:buFont typeface="+mj-lt"/>
              <a:buAutoNum type="alphaUcPeriod"/>
            </a:pPr>
            <a:r>
              <a:rPr lang="en-US" sz="2400" b="0" i="0" dirty="0">
                <a:solidFill>
                  <a:srgbClr val="212529"/>
                </a:solidFill>
                <a:effectLst/>
              </a:rPr>
              <a:t>What the various activities are</a:t>
            </a:r>
          </a:p>
          <a:p>
            <a:pPr marL="457200" indent="-457200" algn="l">
              <a:buFont typeface="+mj-lt"/>
              <a:buAutoNum type="alphaUcPeriod"/>
            </a:pPr>
            <a:r>
              <a:rPr lang="en-US" sz="2400" b="0" i="0" dirty="0">
                <a:solidFill>
                  <a:srgbClr val="212529"/>
                </a:solidFill>
                <a:effectLst/>
              </a:rPr>
              <a:t>When each activity begins and ends</a:t>
            </a:r>
          </a:p>
          <a:p>
            <a:pPr marL="457200" indent="-457200" algn="l">
              <a:buFont typeface="+mj-lt"/>
              <a:buAutoNum type="alphaUcPeriod"/>
            </a:pPr>
            <a:r>
              <a:rPr lang="en-US" sz="2400" b="0" i="0" dirty="0">
                <a:solidFill>
                  <a:srgbClr val="212529"/>
                </a:solidFill>
                <a:effectLst/>
              </a:rPr>
              <a:t>How long each activity is scheduled to last</a:t>
            </a:r>
          </a:p>
          <a:p>
            <a:pPr marL="457200" indent="-457200" algn="l">
              <a:buFont typeface="+mj-lt"/>
              <a:buAutoNum type="alphaUcPeriod"/>
            </a:pPr>
            <a:r>
              <a:rPr lang="en-US" sz="2400" b="0" i="0" dirty="0">
                <a:solidFill>
                  <a:srgbClr val="212529"/>
                </a:solidFill>
                <a:effectLst/>
              </a:rPr>
              <a:t>Where activities overlap with other activities, and by </a:t>
            </a:r>
            <a:r>
              <a:rPr lang="en-US" sz="2400" b="0" i="0">
                <a:solidFill>
                  <a:srgbClr val="212529"/>
                </a:solidFill>
                <a:effectLst/>
              </a:rPr>
              <a:t>how much.</a:t>
            </a:r>
            <a:endParaRPr lang="en-US" sz="2400" b="0" i="0" dirty="0">
              <a:solidFill>
                <a:srgbClr val="212529"/>
              </a:solidFill>
              <a:effectLst/>
            </a:endParaRPr>
          </a:p>
          <a:p>
            <a:pPr marL="457200" indent="-457200" algn="l">
              <a:buFont typeface="+mj-lt"/>
              <a:buAutoNum type="alphaUcPeriod"/>
            </a:pPr>
            <a:r>
              <a:rPr lang="en-US" sz="2400" b="0" i="0" dirty="0">
                <a:solidFill>
                  <a:srgbClr val="212529"/>
                </a:solidFill>
                <a:effectLst/>
              </a:rPr>
              <a:t>The start and end date of the whole project</a:t>
            </a:r>
          </a:p>
        </p:txBody>
      </p:sp>
    </p:spTree>
    <p:extLst>
      <p:ext uri="{BB962C8B-B14F-4D97-AF65-F5344CB8AC3E}">
        <p14:creationId xmlns:p14="http://schemas.microsoft.com/office/powerpoint/2010/main" val="5485353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49A6CA79-5C94-2A54-21DA-5BBEAD591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29</a:t>
            </a:fld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2FBEF04-9D00-7045-6288-D05E484D8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is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dirty="0" err="1"/>
              <a:t>might</a:t>
            </a:r>
            <a:r>
              <a:rPr lang="fr-FR" dirty="0"/>
              <a:t> look like</a:t>
            </a:r>
          </a:p>
        </p:txBody>
      </p:sp>
      <p:pic>
        <p:nvPicPr>
          <p:cNvPr id="5122" name="Picture 2" descr="gantt chart schedule">
            <a:extLst>
              <a:ext uri="{FF2B5EF4-FFF2-40B4-BE49-F238E27FC236}">
                <a16:creationId xmlns:a16="http://schemas.microsoft.com/office/drawing/2014/main" id="{F6BAC7CA-FD19-25FF-4539-1DCEB48E95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61" y="1062013"/>
            <a:ext cx="12107943" cy="42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7025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5747" y="268574"/>
            <a:ext cx="11072813" cy="1090613"/>
          </a:xfrm>
          <a:prstGeom prst="rect">
            <a:avLst/>
          </a:prstGeom>
        </p:spPr>
        <p:txBody>
          <a:bodyPr>
            <a:normAutofit fontScale="90000"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4000" b="0" dirty="0"/>
              <a:t>Reminder: Project Management : a 3-Phase Approach </a:t>
            </a:r>
            <a:br>
              <a:rPr lang="en-US" sz="2400" dirty="0"/>
            </a:br>
            <a:endParaRPr lang="en-US" sz="1800" b="0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AA7B8AD-E6F9-4E25-A3A4-71D021032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6" name="Chevron 17">
            <a:extLst>
              <a:ext uri="{FF2B5EF4-FFF2-40B4-BE49-F238E27FC236}">
                <a16:creationId xmlns:a16="http://schemas.microsoft.com/office/drawing/2014/main" id="{80C2FA24-C3FF-4F99-8694-BA262AB8070A}"/>
              </a:ext>
            </a:extLst>
          </p:cNvPr>
          <p:cNvSpPr/>
          <p:nvPr/>
        </p:nvSpPr>
        <p:spPr bwMode="auto">
          <a:xfrm>
            <a:off x="443347" y="1359188"/>
            <a:ext cx="3758252" cy="904749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2000" dirty="0">
                <a:solidFill>
                  <a:schemeClr val="bg1"/>
                </a:solidFill>
                <a:cs typeface="Times New Roman" pitchFamily="18" charset="0"/>
              </a:rPr>
              <a:t>Phase I: </a:t>
            </a:r>
            <a:r>
              <a:rPr lang="en-GB" sz="2000" dirty="0">
                <a:solidFill>
                  <a:schemeClr val="bg1"/>
                </a:solidFill>
                <a:cs typeface="Times New Roman" pitchFamily="18" charset="0"/>
              </a:rPr>
              <a:t>Build a Business Case</a:t>
            </a:r>
            <a:endParaRPr lang="en-US" sz="20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7" name="Chevron 17">
            <a:extLst>
              <a:ext uri="{FF2B5EF4-FFF2-40B4-BE49-F238E27FC236}">
                <a16:creationId xmlns:a16="http://schemas.microsoft.com/office/drawing/2014/main" id="{AA474FA7-23F8-48D3-A4A1-46C7E7EF8CBF}"/>
              </a:ext>
            </a:extLst>
          </p:cNvPr>
          <p:cNvSpPr/>
          <p:nvPr/>
        </p:nvSpPr>
        <p:spPr bwMode="auto">
          <a:xfrm>
            <a:off x="4289929" y="1382996"/>
            <a:ext cx="3604451" cy="849147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2000" dirty="0">
                <a:solidFill>
                  <a:schemeClr val="bg1"/>
                </a:solidFill>
                <a:cs typeface="Times New Roman" pitchFamily="18" charset="0"/>
              </a:rPr>
              <a:t>Phase II: </a:t>
            </a:r>
            <a:r>
              <a:rPr lang="en-GB" sz="2000" dirty="0">
                <a:solidFill>
                  <a:schemeClr val="bg1"/>
                </a:solidFill>
                <a:cs typeface="Times New Roman" pitchFamily="18" charset="0"/>
              </a:rPr>
              <a:t>Initiate the Projec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38E2F11-EEE6-4CE3-AA18-0A0EFEAFC83C}"/>
              </a:ext>
            </a:extLst>
          </p:cNvPr>
          <p:cNvCxnSpPr>
            <a:cxnSpLocks/>
          </p:cNvCxnSpPr>
          <p:nvPr/>
        </p:nvCxnSpPr>
        <p:spPr>
          <a:xfrm>
            <a:off x="7848736" y="2263937"/>
            <a:ext cx="0" cy="288000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6F130AE-016B-49E7-B056-02422308B35C}"/>
              </a:ext>
            </a:extLst>
          </p:cNvPr>
          <p:cNvSpPr/>
          <p:nvPr/>
        </p:nvSpPr>
        <p:spPr>
          <a:xfrm>
            <a:off x="505708" y="2263938"/>
            <a:ext cx="3562848" cy="4483279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Business opportunity &amp; suggested solutio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Project objectives, scope &amp; approach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Project deliverables &amp; business outcome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Strategic alignmen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Dependencies &amp; constraint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Risk assessment &amp; mitigatio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hange impact assessmen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Project costs 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Benefit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Net present value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Key success factors &amp; KPI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2BF9F2-93B5-4D57-85D0-BA4BB3074ECE}"/>
              </a:ext>
            </a:extLst>
          </p:cNvPr>
          <p:cNvSpPr/>
          <p:nvPr/>
        </p:nvSpPr>
        <p:spPr>
          <a:xfrm>
            <a:off x="7977943" y="2263938"/>
            <a:ext cx="3447437" cy="2944396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sz="2000" dirty="0">
                <a:solidFill>
                  <a:schemeClr val="bg1">
                    <a:lumMod val="10000"/>
                  </a:schemeClr>
                </a:solidFill>
              </a:rPr>
              <a:t>High-level project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sz="2000" dirty="0">
                <a:solidFill>
                  <a:schemeClr val="bg1">
                    <a:lumMod val="10000"/>
                  </a:schemeClr>
                </a:solidFill>
              </a:rPr>
              <a:t>Detailed project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sz="2000" dirty="0">
                <a:solidFill>
                  <a:schemeClr val="bg1">
                    <a:lumMod val="10000"/>
                  </a:schemeClr>
                </a:solidFill>
              </a:rPr>
              <a:t>Project dashboard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sz="2000" dirty="0">
                <a:solidFill>
                  <a:schemeClr val="bg1">
                    <a:lumMod val="10000"/>
                  </a:schemeClr>
                </a:solidFill>
              </a:rPr>
              <a:t>Parking lo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sz="2000" dirty="0">
                <a:solidFill>
                  <a:schemeClr val="bg1">
                    <a:lumMod val="10000"/>
                  </a:schemeClr>
                </a:solidFill>
              </a:rPr>
              <a:t>Punch lis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sz="2000" dirty="0">
                <a:solidFill>
                  <a:schemeClr val="bg1">
                    <a:lumMod val="10000"/>
                  </a:schemeClr>
                </a:solidFill>
              </a:rPr>
              <a:t>Post project evaluation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002776"/>
              </a:solidFill>
            </a:endParaRP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002776"/>
              </a:solidFill>
            </a:endParaRPr>
          </a:p>
        </p:txBody>
      </p:sp>
      <p:sp>
        <p:nvSpPr>
          <p:cNvPr id="44" name="Chevron 17">
            <a:extLst>
              <a:ext uri="{FF2B5EF4-FFF2-40B4-BE49-F238E27FC236}">
                <a16:creationId xmlns:a16="http://schemas.microsoft.com/office/drawing/2014/main" id="{B37241D5-D790-45E8-BF55-A1BE78BE73CE}"/>
              </a:ext>
            </a:extLst>
          </p:cNvPr>
          <p:cNvSpPr/>
          <p:nvPr/>
        </p:nvSpPr>
        <p:spPr bwMode="auto">
          <a:xfrm>
            <a:off x="7977943" y="1382996"/>
            <a:ext cx="3946452" cy="849147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2000" dirty="0">
                <a:solidFill>
                  <a:schemeClr val="bg1"/>
                </a:solidFill>
                <a:cs typeface="Times New Roman" pitchFamily="18" charset="0"/>
              </a:rPr>
              <a:t>Phase III: Define &amp; </a:t>
            </a:r>
            <a:r>
              <a:rPr lang="en-US" sz="2000" dirty="0" err="1">
                <a:solidFill>
                  <a:schemeClr val="bg1"/>
                </a:solidFill>
                <a:cs typeface="Times New Roman" pitchFamily="18" charset="0"/>
              </a:rPr>
              <a:t>Imple-ment</a:t>
            </a:r>
            <a:r>
              <a:rPr lang="en-US" sz="2000" dirty="0">
                <a:solidFill>
                  <a:schemeClr val="bg1"/>
                </a:solidFill>
                <a:cs typeface="Times New Roman" pitchFamily="18" charset="0"/>
              </a:rPr>
              <a:t> the Project Plan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4F81B7A-6305-4E8C-BB6C-F5EA082CC1F4}"/>
              </a:ext>
            </a:extLst>
          </p:cNvPr>
          <p:cNvCxnSpPr>
            <a:cxnSpLocks/>
          </p:cNvCxnSpPr>
          <p:nvPr/>
        </p:nvCxnSpPr>
        <p:spPr>
          <a:xfrm>
            <a:off x="4177221" y="2263937"/>
            <a:ext cx="0" cy="288000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ECF957D7-D8F3-458B-821C-47577E93E4F6}"/>
              </a:ext>
            </a:extLst>
          </p:cNvPr>
          <p:cNvSpPr/>
          <p:nvPr/>
        </p:nvSpPr>
        <p:spPr>
          <a:xfrm>
            <a:off x="4343264" y="2263938"/>
            <a:ext cx="3396807" cy="3129062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169863" indent="-169863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sz="2000" b="1" dirty="0">
                <a:solidFill>
                  <a:schemeClr val="bg1">
                    <a:lumMod val="10000"/>
                  </a:schemeClr>
                </a:solidFill>
              </a:rPr>
              <a:t>Project charter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sz="2000" b="1" dirty="0">
                <a:solidFill>
                  <a:schemeClr val="bg1">
                    <a:lumMod val="10000"/>
                  </a:schemeClr>
                </a:solidFill>
              </a:rPr>
              <a:t>Project challenges and key success factors</a:t>
            </a:r>
          </a:p>
          <a:p>
            <a:pPr marL="169863" indent="-169863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nb-NO" sz="2000" b="1" dirty="0">
                <a:solidFill>
                  <a:schemeClr val="bg1">
                    <a:lumMod val="10000"/>
                  </a:schemeClr>
                </a:solidFill>
              </a:rPr>
              <a:t>RACI matrix</a:t>
            </a:r>
          </a:p>
          <a:p>
            <a:pPr marL="169863" indent="-169863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nb-NO" sz="2000" b="1" dirty="0">
                <a:solidFill>
                  <a:schemeClr val="bg1">
                    <a:lumMod val="10000"/>
                  </a:schemeClr>
                </a:solidFill>
              </a:rPr>
              <a:t>Stakeholder analysi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002776"/>
              </a:solidFill>
            </a:endParaRP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C00000"/>
              </a:solidFill>
            </a:endParaRP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C00000"/>
              </a:solidFill>
            </a:endParaRP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0425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A3EFE1-9D70-4CDB-6340-BCD762CC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fr-FR" sz="4000" dirty="0" err="1">
                <a:latin typeface="+mj-lt"/>
              </a:rPr>
              <a:t>Exercise</a:t>
            </a:r>
            <a:r>
              <a:rPr lang="fr-FR" sz="4000" dirty="0">
                <a:latin typeface="+mj-lt"/>
              </a:rPr>
              <a:t> – in team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5E220E0-E463-FF72-915F-84E45AFF6E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33780"/>
            <a:ext cx="6253194" cy="1783158"/>
          </a:xfrm>
        </p:spPr>
        <p:txBody>
          <a:bodyPr>
            <a:noAutofit/>
          </a:bodyPr>
          <a:lstStyle/>
          <a:p>
            <a:pPr marL="107950" indent="0">
              <a:lnSpc>
                <a:spcPct val="100000"/>
              </a:lnSpc>
              <a:buNone/>
            </a:pP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lease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draw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up a GANTT chart for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rojec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.</a:t>
            </a:r>
          </a:p>
          <a:p>
            <a:pPr marL="107950" indent="0">
              <a:buNone/>
            </a:pPr>
            <a:endParaRPr lang="fr-FR" dirty="0">
              <a:solidFill>
                <a:schemeClr val="bg1">
                  <a:lumMod val="10000"/>
                </a:schemeClr>
              </a:solidFill>
              <a:latin typeface="+mj-lt"/>
            </a:endParaRPr>
          </a:p>
          <a:p>
            <a:pPr marL="107950" indent="0">
              <a:buNone/>
            </a:pPr>
            <a:r>
              <a:rPr lang="fr-FR" b="1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20’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0C745C-A79E-9032-937B-E2C9F59B7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1891F77C-2301-A688-0985-72ADD65A0F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5055" y="809154"/>
            <a:ext cx="2368633" cy="236863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DA3B306-9C8C-D919-0C06-8720143A3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8317" y="2343611"/>
            <a:ext cx="1976968" cy="197696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A351C23-81EB-EFCD-339F-0A4B43DF1B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92405" y="3661645"/>
            <a:ext cx="1976969" cy="217644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CA7B761-70BB-AEF5-2957-C87E8C9DA1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3431" y="4066917"/>
            <a:ext cx="2203486" cy="1981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069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AE6DEEF-DCC4-9B37-F453-90344DF69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VN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A7DBE57-AD56-FE5B-3A67-B9D9FE9A3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err="1"/>
              <a:t>Please</a:t>
            </a:r>
            <a:r>
              <a:rPr lang="fr-FR" b="0" dirty="0"/>
              <a:t> </a:t>
            </a:r>
            <a:r>
              <a:rPr lang="fr-FR" b="0" dirty="0" err="1"/>
              <a:t>watch</a:t>
            </a:r>
            <a:endParaRPr lang="fr-FR" b="0" dirty="0"/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F14421C6-A715-B916-A8B7-88605164582A}"/>
              </a:ext>
            </a:extLst>
          </p:cNvPr>
          <p:cNvSpPr txBox="1"/>
          <p:nvPr/>
        </p:nvSpPr>
        <p:spPr>
          <a:xfrm>
            <a:off x="1314449" y="1518790"/>
            <a:ext cx="8106642" cy="10772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/>
            <a:r>
              <a:rPr lang="en-US" sz="3200" b="0" i="0" dirty="0">
                <a:effectLst/>
                <a:latin typeface="+mj-lt"/>
              </a:rPr>
              <a:t>The Secret to Life from a PMP | Amy Hamilton | </a:t>
            </a:r>
            <a:r>
              <a:rPr lang="en-US" sz="3200" b="0" i="0" dirty="0" err="1">
                <a:effectLst/>
                <a:latin typeface="+mj-lt"/>
              </a:rPr>
              <a:t>TEDxStuttgart</a:t>
            </a:r>
            <a:endParaRPr lang="en-US" sz="3200" b="0" i="0" dirty="0">
              <a:effectLst/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C7AB56-C2E6-CFFC-FC08-5BDD96205B54}"/>
              </a:ext>
            </a:extLst>
          </p:cNvPr>
          <p:cNvSpPr txBox="1"/>
          <p:nvPr/>
        </p:nvSpPr>
        <p:spPr>
          <a:xfrm>
            <a:off x="1302799" y="3136611"/>
            <a:ext cx="10359621" cy="5847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fr-FR" sz="3200" dirty="0">
                <a:latin typeface="+mj-lt"/>
              </a:rPr>
              <a:t>https://www.youtube.com/watch?v=CTn0HYmMAYM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C52BA26A-B520-90EB-821A-AC03CCAB4A01}"/>
              </a:ext>
            </a:extLst>
          </p:cNvPr>
          <p:cNvSpPr txBox="1"/>
          <p:nvPr/>
        </p:nvSpPr>
        <p:spPr>
          <a:xfrm>
            <a:off x="1314450" y="4403320"/>
            <a:ext cx="9959571" cy="95410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Make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notes of the main points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that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interested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and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formulate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questions </a:t>
            </a:r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</a:t>
            </a:r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have.</a:t>
            </a:r>
          </a:p>
        </p:txBody>
      </p:sp>
    </p:spTree>
    <p:extLst>
      <p:ext uri="{BB962C8B-B14F-4D97-AF65-F5344CB8AC3E}">
        <p14:creationId xmlns:p14="http://schemas.microsoft.com/office/powerpoint/2010/main" val="30470268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C520AD-85BE-4ED7-A74F-50228B934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562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Agenda for </a:t>
            </a:r>
            <a:r>
              <a:rPr lang="fr-FR" sz="4000" dirty="0" err="1">
                <a:latin typeface="+mj-lt"/>
              </a:rPr>
              <a:t>this</a:t>
            </a:r>
            <a:r>
              <a:rPr lang="fr-FR" sz="4000" dirty="0">
                <a:latin typeface="+mj-lt"/>
              </a:rPr>
              <a:t> S2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748B34F-1557-4247-9F07-5BEAA158F7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05354"/>
            <a:ext cx="10515600" cy="4297920"/>
          </a:xfrm>
        </p:spPr>
        <p:txBody>
          <a:bodyPr>
            <a:noAutofit/>
          </a:bodyPr>
          <a:lstStyle/>
          <a:p>
            <a:pPr marL="622300" indent="-514350">
              <a:buFont typeface="+mj-lt"/>
              <a:buAutoNum type="arabicPeriod"/>
            </a:pP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Finishing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up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ith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the </a:t>
            </a: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exercises</a:t>
            </a:r>
            <a:endParaRPr lang="fr-FR" sz="3200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Risk management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aterfall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vs Agile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Gantt charts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b="1" dirty="0">
                <a:solidFill>
                  <a:schemeClr val="bg1">
                    <a:lumMod val="10000"/>
                  </a:schemeClr>
                </a:solidFill>
              </a:rPr>
              <a:t>WB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CFC9A4-9001-475C-8C50-84EC9F117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nter your name in the footer</a:t>
            </a:r>
            <a:endParaRPr lang="fr-FR" dirty="0"/>
          </a:p>
        </p:txBody>
      </p:sp>
      <p:pic>
        <p:nvPicPr>
          <p:cNvPr id="5" name="Picture 2" descr="Making a Case for New Project Management Solutions">
            <a:extLst>
              <a:ext uri="{FF2B5EF4-FFF2-40B4-BE49-F238E27FC236}">
                <a16:creationId xmlns:a16="http://schemas.microsoft.com/office/drawing/2014/main" id="{C46EDEDA-0A14-93DB-01D9-29BABB332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5502" y="2115025"/>
            <a:ext cx="6576498" cy="3288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69890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672EA5-F987-6086-74E4-8DF22ADF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314" y="337416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WB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E002F0C-0561-C1C6-DC34-4D24C4C0167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7C5951EC-32A2-F2A3-0B03-2C27212594C6}"/>
              </a:ext>
            </a:extLst>
          </p:cNvPr>
          <p:cNvSpPr txBox="1"/>
          <p:nvPr/>
        </p:nvSpPr>
        <p:spPr>
          <a:xfrm>
            <a:off x="585314" y="1209312"/>
            <a:ext cx="10597036" cy="2985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1200"/>
              </a:spcAft>
            </a:pPr>
            <a:r>
              <a:rPr lang="en-US" sz="2800" b="0" i="0" u="sng" dirty="0">
                <a:solidFill>
                  <a:srgbClr val="000000"/>
                </a:solidFill>
                <a:effectLst/>
              </a:rPr>
              <a:t>Purpose:</a:t>
            </a:r>
          </a:p>
          <a:p>
            <a:pPr algn="l"/>
            <a:r>
              <a:rPr lang="en-US" sz="2800" dirty="0">
                <a:solidFill>
                  <a:srgbClr val="000000"/>
                </a:solidFill>
              </a:rPr>
              <a:t>S</a:t>
            </a:r>
            <a:r>
              <a:rPr lang="en-US" sz="2800" b="0" i="0" dirty="0">
                <a:solidFill>
                  <a:srgbClr val="000000"/>
                </a:solidFill>
                <a:effectLst/>
              </a:rPr>
              <a:t>ubdivide a complicated task into smaller tasks until you reach </a:t>
            </a:r>
          </a:p>
          <a:p>
            <a:pPr algn="l">
              <a:spcAft>
                <a:spcPts val="1200"/>
              </a:spcAft>
            </a:pPr>
            <a:r>
              <a:rPr lang="en-US" sz="2800" b="0" i="0" dirty="0">
                <a:solidFill>
                  <a:srgbClr val="000000"/>
                </a:solidFill>
                <a:effectLst/>
              </a:rPr>
              <a:t>a level that cannot be further subdivided. </a:t>
            </a:r>
            <a:r>
              <a:rPr lang="en-US" sz="2800" dirty="0">
                <a:solidFill>
                  <a:srgbClr val="000000"/>
                </a:solidFill>
              </a:rPr>
              <a:t>WBS is done before scheduling and involves 3+ levels, such as:</a:t>
            </a:r>
          </a:p>
          <a:p>
            <a:pPr algn="l"/>
            <a:r>
              <a:rPr lang="en-US" sz="2800" b="0" i="0" dirty="0" err="1">
                <a:solidFill>
                  <a:srgbClr val="000000"/>
                </a:solidFill>
                <a:effectLst/>
              </a:rPr>
              <a:t>Pro</a:t>
            </a:r>
            <a:r>
              <a:rPr lang="en-US" sz="2800" dirty="0" err="1">
                <a:solidFill>
                  <a:srgbClr val="000000"/>
                </a:solidFill>
              </a:rPr>
              <a:t>gramme</a:t>
            </a:r>
            <a:r>
              <a:rPr lang="en-US" sz="2800" dirty="0">
                <a:solidFill>
                  <a:srgbClr val="000000"/>
                </a:solidFill>
              </a:rPr>
              <a:t> – Project – Task – Subdivision(s) of task or</a:t>
            </a:r>
          </a:p>
          <a:p>
            <a:pPr algn="l"/>
            <a:r>
              <a:rPr lang="en-US" sz="2800" b="0" i="0" dirty="0">
                <a:solidFill>
                  <a:srgbClr val="000000"/>
                </a:solidFill>
                <a:effectLst/>
              </a:rPr>
              <a:t>Macro – Meso – Micro.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95E7FD06-95E9-54F2-06FD-447FA69B34C6}"/>
              </a:ext>
            </a:extLst>
          </p:cNvPr>
          <p:cNvSpPr txBox="1"/>
          <p:nvPr/>
        </p:nvSpPr>
        <p:spPr>
          <a:xfrm>
            <a:off x="585314" y="4414817"/>
            <a:ext cx="10597036" cy="11079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fr-FR" sz="2800" u="sng" dirty="0" err="1"/>
              <a:t>Exercise</a:t>
            </a:r>
            <a:r>
              <a:rPr lang="fr-FR" sz="2800" u="sng" dirty="0"/>
              <a:t>: in teams:</a:t>
            </a:r>
          </a:p>
          <a:p>
            <a:r>
              <a:rPr lang="fr-FR" sz="2800" dirty="0"/>
              <a:t>Do a WBS for « </a:t>
            </a:r>
            <a:r>
              <a:rPr lang="fr-FR" sz="2800" dirty="0" err="1"/>
              <a:t>Finding</a:t>
            </a:r>
            <a:r>
              <a:rPr lang="fr-FR" sz="2800" dirty="0"/>
              <a:t> sponsors ». </a:t>
            </a:r>
          </a:p>
        </p:txBody>
      </p:sp>
    </p:spTree>
    <p:extLst>
      <p:ext uri="{BB962C8B-B14F-4D97-AF65-F5344CB8AC3E}">
        <p14:creationId xmlns:p14="http://schemas.microsoft.com/office/powerpoint/2010/main" val="37266086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pplication of Project Management Techniques in Filmmaking | Semantic  Scholar">
            <a:extLst>
              <a:ext uri="{FF2B5EF4-FFF2-40B4-BE49-F238E27FC236}">
                <a16:creationId xmlns:a16="http://schemas.microsoft.com/office/drawing/2014/main" id="{F56D25E6-FF7D-404C-8352-D5DEA17251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1050" y="38100"/>
            <a:ext cx="7600950" cy="681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7A87AD0-B6BC-486D-8968-4B67424DAA6B}"/>
              </a:ext>
            </a:extLst>
          </p:cNvPr>
          <p:cNvSpPr txBox="1"/>
          <p:nvPr/>
        </p:nvSpPr>
        <p:spPr>
          <a:xfrm>
            <a:off x="152400" y="533400"/>
            <a:ext cx="425071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dirty="0"/>
              <a:t>WBS for </a:t>
            </a:r>
            <a:r>
              <a:rPr lang="fr-FR" sz="3200" dirty="0" err="1"/>
              <a:t>making</a:t>
            </a:r>
            <a:r>
              <a:rPr lang="fr-FR" sz="3200" dirty="0"/>
              <a:t> a </a:t>
            </a:r>
            <a:r>
              <a:rPr lang="fr-FR" sz="3200" dirty="0" err="1"/>
              <a:t>movie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val="16789411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22F476C-B6CF-B210-99A7-B41E982F9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C1FEF-22EE-9746-AFAA-99A0669454F1}" type="slidenum">
              <a:rPr lang="en-VN" smtClean="0"/>
              <a:t>35</a:t>
            </a:fld>
            <a:endParaRPr lang="en-VN"/>
          </a:p>
        </p:txBody>
      </p:sp>
      <p:pic>
        <p:nvPicPr>
          <p:cNvPr id="5" name="Picture 2" descr="Putting the “W” Back in “WBS” | The Papercut Project Manager">
            <a:extLst>
              <a:ext uri="{FF2B5EF4-FFF2-40B4-BE49-F238E27FC236}">
                <a16:creationId xmlns:a16="http://schemas.microsoft.com/office/drawing/2014/main" id="{443D9248-1790-27C1-ED41-DEF79CA5E1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743" y="1117600"/>
            <a:ext cx="10715625" cy="52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F1B45F5A-5C0D-8B57-DEB2-0901349B43B7}"/>
              </a:ext>
            </a:extLst>
          </p:cNvPr>
          <p:cNvSpPr txBox="1"/>
          <p:nvPr/>
        </p:nvSpPr>
        <p:spPr>
          <a:xfrm>
            <a:off x="1470992" y="291547"/>
            <a:ext cx="39360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Example of a WBS</a:t>
            </a:r>
          </a:p>
        </p:txBody>
      </p:sp>
    </p:spTree>
    <p:extLst>
      <p:ext uri="{BB962C8B-B14F-4D97-AF65-F5344CB8AC3E}">
        <p14:creationId xmlns:p14="http://schemas.microsoft.com/office/powerpoint/2010/main" val="4512776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672EA5-F987-6086-74E4-8DF22ADF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182" y="337416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Work for Friday: the A-Z of </a:t>
            </a:r>
            <a:r>
              <a:rPr lang="fr-FR" sz="4000" dirty="0" err="1">
                <a:latin typeface="+mj-lt"/>
              </a:rPr>
              <a:t>project</a:t>
            </a:r>
            <a:r>
              <a:rPr lang="fr-FR" sz="4000" dirty="0">
                <a:latin typeface="+mj-lt"/>
              </a:rPr>
              <a:t> management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E002F0C-0561-C1C6-DC34-4D24C4C0167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80A9BCDB-FD45-4439-D345-3F61B48D2D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085784"/>
              </p:ext>
            </p:extLst>
          </p:nvPr>
        </p:nvGraphicFramePr>
        <p:xfrm>
          <a:off x="69538" y="1199140"/>
          <a:ext cx="11775033" cy="47853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89677">
                  <a:extLst>
                    <a:ext uri="{9D8B030D-6E8A-4147-A177-3AD203B41FA5}">
                      <a16:colId xmlns:a16="http://schemas.microsoft.com/office/drawing/2014/main" val="4251879374"/>
                    </a:ext>
                  </a:extLst>
                </a:gridCol>
                <a:gridCol w="3095218">
                  <a:extLst>
                    <a:ext uri="{9D8B030D-6E8A-4147-A177-3AD203B41FA5}">
                      <a16:colId xmlns:a16="http://schemas.microsoft.com/office/drawing/2014/main" val="1595958925"/>
                    </a:ext>
                  </a:extLst>
                </a:gridCol>
                <a:gridCol w="3364282">
                  <a:extLst>
                    <a:ext uri="{9D8B030D-6E8A-4147-A177-3AD203B41FA5}">
                      <a16:colId xmlns:a16="http://schemas.microsoft.com/office/drawing/2014/main" val="2323052200"/>
                    </a:ext>
                  </a:extLst>
                </a:gridCol>
                <a:gridCol w="3725856">
                  <a:extLst>
                    <a:ext uri="{9D8B030D-6E8A-4147-A177-3AD203B41FA5}">
                      <a16:colId xmlns:a16="http://schemas.microsoft.com/office/drawing/2014/main" val="2876924127"/>
                    </a:ext>
                  </a:extLst>
                </a:gridCol>
              </a:tblGrid>
              <a:tr h="2338608">
                <a:tc>
                  <a:txBody>
                    <a:bodyPr/>
                    <a:lstStyle/>
                    <a:p>
                      <a:r>
                        <a:rPr lang="en-GB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Subject</a:t>
                      </a:r>
                    </a:p>
                    <a:p>
                      <a:endParaRPr lang="en-GB" sz="2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r>
                        <a:rPr lang="en-GB" sz="24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Agile etc.</a:t>
                      </a:r>
                      <a:endParaRPr lang="fr-FR" sz="2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800" b="0" dirty="0">
                          <a:solidFill>
                            <a:srgbClr val="2B352D"/>
                          </a:solidFill>
                          <a:latin typeface="+mj-lt"/>
                          <a:cs typeface="Arial" panose="020B0604020202020204" pitchFamily="34" charset="0"/>
                        </a:rPr>
                        <a:t>What is it?</a:t>
                      </a:r>
                    </a:p>
                    <a:p>
                      <a:endParaRPr lang="en-GB" sz="2400" b="1" dirty="0">
                        <a:solidFill>
                          <a:srgbClr val="2B352D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endParaRPr lang="en-GB" sz="2400" b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Is the definition clear? Are there alternative definitions? Do some additional research. </a:t>
                      </a:r>
                      <a:endParaRPr lang="fr-FR" sz="2400" b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800" b="0" dirty="0">
                          <a:solidFill>
                            <a:srgbClr val="29372C"/>
                          </a:solidFill>
                          <a:latin typeface="+mj-lt"/>
                          <a:cs typeface="Arial" panose="020B0604020202020204" pitchFamily="34" charset="0"/>
                        </a:rPr>
                        <a:t>Why are we interested?</a:t>
                      </a:r>
                    </a:p>
                    <a:p>
                      <a:endParaRPr lang="en-GB" sz="2400" b="1" dirty="0">
                        <a:latin typeface="+mj-lt"/>
                        <a:cs typeface="Arial" panose="020B0604020202020204" pitchFamily="34" charset="0"/>
                      </a:endParaRPr>
                    </a:p>
                    <a:p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What is the relevance of this subject for project managers ? Give concrete examples for your project, specific business sectors or companies.  </a:t>
                      </a:r>
                      <a:endParaRPr lang="fr-FR" sz="2400" b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800" b="0" u="none" dirty="0">
                          <a:solidFill>
                            <a:srgbClr val="29372B"/>
                          </a:solidFill>
                          <a:latin typeface="+mj-lt"/>
                          <a:cs typeface="Arial" panose="020B0604020202020204" pitchFamily="34" charset="0"/>
                        </a:rPr>
                        <a:t>How can we use this in practice? </a:t>
                      </a:r>
                    </a:p>
                    <a:p>
                      <a:endParaRPr lang="en-GB" sz="2400" b="1" u="sng" dirty="0">
                        <a:latin typeface="+mj-lt"/>
                        <a:cs typeface="Arial" panose="020B0604020202020204" pitchFamily="34" charset="0"/>
                      </a:endParaRPr>
                    </a:p>
                    <a:p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What do we think of this subject? </a:t>
                      </a:r>
                    </a:p>
                    <a:p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How can we apply it in our professional or personal lives ? </a:t>
                      </a:r>
                      <a:endParaRPr lang="fr-FR" sz="2400" b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7389"/>
                  </a:ext>
                </a:extLst>
              </a:tr>
              <a:tr h="299822">
                <a:tc>
                  <a:txBody>
                    <a:bodyPr/>
                    <a:lstStyle/>
                    <a:p>
                      <a:endParaRPr lang="fr-FR" sz="2400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053306"/>
                  </a:ext>
                </a:extLst>
              </a:tr>
              <a:tr h="299822">
                <a:tc>
                  <a:txBody>
                    <a:bodyPr/>
                    <a:lstStyle/>
                    <a:p>
                      <a:endParaRPr lang="fr-FR" sz="2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sz="24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601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73057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165" cy="6858000"/>
          </a:xfrm>
          <a:prstGeom prst="rect">
            <a:avLst/>
          </a:prstGeom>
        </p:spPr>
      </p:pic>
      <p:sp>
        <p:nvSpPr>
          <p:cNvPr id="8" name="ZoneTexte 7"/>
          <p:cNvSpPr txBox="1"/>
          <p:nvPr>
            <p:custDataLst>
              <p:tags r:id="rId2"/>
            </p:custDataLst>
          </p:nvPr>
        </p:nvSpPr>
        <p:spPr>
          <a:xfrm>
            <a:off x="2052637" y="1202099"/>
            <a:ext cx="302921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dirty="0">
                <a:solidFill>
                  <a:schemeClr val="bg1"/>
                </a:solidFill>
                <a:latin typeface="+mj-lt"/>
                <a:ea typeface="Avenir LT Std 45 Book" charset="0"/>
                <a:cs typeface="Avenir LT Std 45 Book" charset="0"/>
              </a:rPr>
              <a:t>Feedback ?</a:t>
            </a:r>
            <a:endParaRPr lang="fr-FR" sz="4400" b="1" dirty="0">
              <a:solidFill>
                <a:schemeClr val="bg1"/>
              </a:solidFill>
              <a:latin typeface="+mj-lt"/>
              <a:ea typeface="Avenir LT Std 85 Heavy" charset="0"/>
              <a:cs typeface="Avenir LT Std 85 Heavy" charset="0"/>
            </a:endParaRPr>
          </a:p>
        </p:txBody>
      </p:sp>
      <p:cxnSp>
        <p:nvCxnSpPr>
          <p:cNvPr id="9" name="Connecteur droit 8"/>
          <p:cNvCxnSpPr/>
          <p:nvPr>
            <p:custDataLst>
              <p:tags r:id="rId3"/>
            </p:custDataLst>
          </p:nvPr>
        </p:nvCxnSpPr>
        <p:spPr>
          <a:xfrm>
            <a:off x="7597519" y="5423532"/>
            <a:ext cx="952193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>
            <p:custDataLst>
              <p:tags r:id="rId4"/>
            </p:custDataLst>
          </p:nvPr>
        </p:nvCxnSpPr>
        <p:spPr>
          <a:xfrm>
            <a:off x="3019285" y="2096575"/>
            <a:ext cx="93365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2FDF8D46-4FE9-49E4-9F42-7844605C11B1}"/>
              </a:ext>
            </a:extLst>
          </p:cNvPr>
          <p:cNvSpPr txBox="1"/>
          <p:nvPr/>
        </p:nvSpPr>
        <p:spPr>
          <a:xfrm>
            <a:off x="5081847" y="3272596"/>
            <a:ext cx="6376728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800" dirty="0">
                <a:solidFill>
                  <a:schemeClr val="bg1"/>
                </a:solidFill>
                <a:cs typeface="Arial" panose="020B0604020202020204" pitchFamily="34" charset="0"/>
              </a:rPr>
              <a:t>Your reaction after this session 2 :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800" i="1" dirty="0">
                <a:solidFill>
                  <a:schemeClr val="bg1"/>
                </a:solidFill>
                <a:cs typeface="Arial" panose="020B0604020202020204" pitchFamily="34" charset="0"/>
              </a:rPr>
              <a:t>“WWW” – What Worked Well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800" i="1" dirty="0">
                <a:solidFill>
                  <a:schemeClr val="bg1"/>
                </a:solidFill>
                <a:cs typeface="Arial" panose="020B0604020202020204" pitchFamily="34" charset="0"/>
              </a:rPr>
              <a:t>“EBI” – Even Better If</a:t>
            </a:r>
          </a:p>
        </p:txBody>
      </p:sp>
    </p:spTree>
    <p:extLst>
      <p:ext uri="{BB962C8B-B14F-4D97-AF65-F5344CB8AC3E}">
        <p14:creationId xmlns:p14="http://schemas.microsoft.com/office/powerpoint/2010/main" val="42428310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3533" y="87662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4000" b="0" dirty="0"/>
              <a:t>Friday = Change Management : a 4-phase approach</a:t>
            </a:r>
            <a:endParaRPr lang="en-US" sz="4000" b="0" kern="0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AA7B8AD-E6F9-4E25-A3A4-71D021032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38" name="Chevron 17">
            <a:extLst>
              <a:ext uri="{FF2B5EF4-FFF2-40B4-BE49-F238E27FC236}">
                <a16:creationId xmlns:a16="http://schemas.microsoft.com/office/drawing/2014/main" id="{4E62B729-6759-49CE-98AC-19D319E67273}"/>
              </a:ext>
            </a:extLst>
          </p:cNvPr>
          <p:cNvSpPr/>
          <p:nvPr/>
        </p:nvSpPr>
        <p:spPr bwMode="auto">
          <a:xfrm>
            <a:off x="311103" y="1178275"/>
            <a:ext cx="3025098" cy="902821"/>
          </a:xfrm>
          <a:prstGeom prst="chevron">
            <a:avLst>
              <a:gd name="adj" fmla="val 31818"/>
            </a:avLst>
          </a:prstGeom>
          <a:solidFill>
            <a:srgbClr val="002060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</a:rPr>
              <a:t>Phase I: </a:t>
            </a:r>
            <a:r>
              <a:rPr lang="en-GB" dirty="0">
                <a:solidFill>
                  <a:schemeClr val="bg1"/>
                </a:solidFill>
                <a:cs typeface="Times New Roman" pitchFamily="18" charset="0"/>
              </a:rPr>
              <a:t>Define the Change </a:t>
            </a:r>
            <a:r>
              <a:rPr lang="en-GB" dirty="0" err="1">
                <a:solidFill>
                  <a:schemeClr val="bg1"/>
                </a:solidFill>
                <a:cs typeface="Times New Roman" pitchFamily="18" charset="0"/>
              </a:rPr>
              <a:t>Mgt</a:t>
            </a:r>
            <a:r>
              <a:rPr lang="en-GB" dirty="0">
                <a:solidFill>
                  <a:schemeClr val="bg1"/>
                </a:solidFill>
                <a:cs typeface="Times New Roman" pitchFamily="18" charset="0"/>
              </a:rPr>
              <a:t> Strategy</a:t>
            </a:r>
            <a:endParaRPr lang="en-US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9" name="Chevron 17">
            <a:extLst>
              <a:ext uri="{FF2B5EF4-FFF2-40B4-BE49-F238E27FC236}">
                <a16:creationId xmlns:a16="http://schemas.microsoft.com/office/drawing/2014/main" id="{2E3AF6D6-0EAA-46F7-B834-6D34869BC9A0}"/>
              </a:ext>
            </a:extLst>
          </p:cNvPr>
          <p:cNvSpPr/>
          <p:nvPr/>
        </p:nvSpPr>
        <p:spPr bwMode="auto">
          <a:xfrm>
            <a:off x="3336201" y="1178274"/>
            <a:ext cx="2808000" cy="90282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</a:rPr>
              <a:t>Phase II: H</a:t>
            </a:r>
            <a:r>
              <a:rPr lang="en-GB" dirty="0">
                <a:solidFill>
                  <a:schemeClr val="bg1"/>
                </a:solidFill>
                <a:cs typeface="Times New Roman" pitchFamily="18" charset="0"/>
              </a:rPr>
              <a:t>ow people experience change</a:t>
            </a:r>
          </a:p>
        </p:txBody>
      </p:sp>
      <p:sp>
        <p:nvSpPr>
          <p:cNvPr id="40" name="Chevron 17">
            <a:extLst>
              <a:ext uri="{FF2B5EF4-FFF2-40B4-BE49-F238E27FC236}">
                <a16:creationId xmlns:a16="http://schemas.microsoft.com/office/drawing/2014/main" id="{7937A946-13CF-48ED-BC27-678716B5C734}"/>
              </a:ext>
            </a:extLst>
          </p:cNvPr>
          <p:cNvSpPr/>
          <p:nvPr/>
        </p:nvSpPr>
        <p:spPr bwMode="auto">
          <a:xfrm>
            <a:off x="8814306" y="1178272"/>
            <a:ext cx="3025098" cy="90282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</a:rPr>
              <a:t>Phase IV: Implement, Track &amp; Manage Progres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1A1714B-EC96-46FA-BC40-DBC8339E93EF}"/>
              </a:ext>
            </a:extLst>
          </p:cNvPr>
          <p:cNvCxnSpPr>
            <a:cxnSpLocks/>
          </p:cNvCxnSpPr>
          <p:nvPr/>
        </p:nvCxnSpPr>
        <p:spPr>
          <a:xfrm>
            <a:off x="6019940" y="2263937"/>
            <a:ext cx="0" cy="270000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31AD27A7-A6BB-48A8-BD67-3D7758A9BAFD}"/>
              </a:ext>
            </a:extLst>
          </p:cNvPr>
          <p:cNvSpPr/>
          <p:nvPr/>
        </p:nvSpPr>
        <p:spPr>
          <a:xfrm>
            <a:off x="286724" y="2133133"/>
            <a:ext cx="3025098" cy="4837222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mpany’s strategy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Required change to implement the strategy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Business roadmap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mpany readiness for change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Structure and size of change </a:t>
            </a:r>
            <a:r>
              <a:rPr lang="en-GB" dirty="0" err="1">
                <a:solidFill>
                  <a:schemeClr val="bg1">
                    <a:lumMod val="10000"/>
                  </a:schemeClr>
                </a:solidFill>
              </a:rPr>
              <a:t>mgt</a:t>
            </a: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 team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Roles &amp; responsibilities 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Guiding principles</a:t>
            </a:r>
          </a:p>
          <a:p>
            <a:pPr marL="169863" indent="-169863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en-US" dirty="0">
                <a:solidFill>
                  <a:schemeClr val="bg1">
                    <a:lumMod val="10000"/>
                  </a:schemeClr>
                </a:solidFill>
              </a:rPr>
              <a:t>Change Lean Canvas</a:t>
            </a:r>
          </a:p>
          <a:p>
            <a:pPr marL="169863" indent="-169863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hange impact assessment</a:t>
            </a:r>
          </a:p>
          <a:p>
            <a:pPr marL="169863" indent="-169863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Objectives and levers (ADKAR Model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427035A-8881-4D27-8E30-66E94ED50FF0}"/>
              </a:ext>
            </a:extLst>
          </p:cNvPr>
          <p:cNvSpPr/>
          <p:nvPr/>
        </p:nvSpPr>
        <p:spPr>
          <a:xfrm>
            <a:off x="8814306" y="2263938"/>
            <a:ext cx="3110089" cy="4329390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174625" indent="-174625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Governance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Overarching change management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mmunication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Sponsorship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aching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Training plan status repor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Resistance management plan status report</a:t>
            </a:r>
          </a:p>
          <a:p>
            <a:pPr marL="174625" indent="-174625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hange reinforcemen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4F1DE6B-D2C4-47E7-8157-6291AA08263E}"/>
              </a:ext>
            </a:extLst>
          </p:cNvPr>
          <p:cNvSpPr/>
          <p:nvPr/>
        </p:nvSpPr>
        <p:spPr>
          <a:xfrm>
            <a:off x="6008868" y="2263938"/>
            <a:ext cx="2704448" cy="256480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Overarching change management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mmunication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Sponsorship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oaching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Training plan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Resistance management plan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51C1F44-C286-460A-AF68-53BE53CCFBCE}"/>
              </a:ext>
            </a:extLst>
          </p:cNvPr>
          <p:cNvCxnSpPr>
            <a:cxnSpLocks/>
          </p:cNvCxnSpPr>
          <p:nvPr/>
        </p:nvCxnSpPr>
        <p:spPr>
          <a:xfrm>
            <a:off x="8763812" y="2263937"/>
            <a:ext cx="0" cy="270000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hevron 17">
            <a:extLst>
              <a:ext uri="{FF2B5EF4-FFF2-40B4-BE49-F238E27FC236}">
                <a16:creationId xmlns:a16="http://schemas.microsoft.com/office/drawing/2014/main" id="{D27BF30D-5581-4BEE-974A-61A3BD4C0EB4}"/>
              </a:ext>
            </a:extLst>
          </p:cNvPr>
          <p:cNvSpPr/>
          <p:nvPr/>
        </p:nvSpPr>
        <p:spPr bwMode="auto">
          <a:xfrm>
            <a:off x="6075254" y="1178273"/>
            <a:ext cx="2808000" cy="90282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853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dirty="0">
                <a:solidFill>
                  <a:schemeClr val="bg1"/>
                </a:solidFill>
                <a:cs typeface="Times New Roman" pitchFamily="18" charset="0"/>
              </a:rPr>
              <a:t>Phase III: Develop the Change Management Plans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918EE2E-6F5F-46AB-82BB-FC9983EAD88B}"/>
              </a:ext>
            </a:extLst>
          </p:cNvPr>
          <p:cNvCxnSpPr>
            <a:cxnSpLocks/>
          </p:cNvCxnSpPr>
          <p:nvPr/>
        </p:nvCxnSpPr>
        <p:spPr>
          <a:xfrm>
            <a:off x="3290533" y="2263937"/>
            <a:ext cx="0" cy="270000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05BB488B-69C8-4124-A76A-4E48AD741568}"/>
              </a:ext>
            </a:extLst>
          </p:cNvPr>
          <p:cNvSpPr/>
          <p:nvPr/>
        </p:nvSpPr>
        <p:spPr>
          <a:xfrm>
            <a:off x="3337070" y="2263938"/>
            <a:ext cx="2704449" cy="466281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hange Commitment Curve 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Change Personal Transition Curve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Heart &amp; Mind Human Driver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Innovation Adoption Curve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Maslow Hierarchy of Human Need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Four Stages of Team Development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GB" dirty="0">
                <a:solidFill>
                  <a:schemeClr val="bg1">
                    <a:lumMod val="10000"/>
                  </a:schemeClr>
                </a:solidFill>
              </a:rPr>
              <a:t>Stakeholder analysis</a:t>
            </a: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C00000"/>
              </a:solidFill>
            </a:endParaRP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C00000"/>
              </a:solidFill>
            </a:endParaRPr>
          </a:p>
          <a:p>
            <a:pPr marL="169863" indent="-169863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/>
            </a:pPr>
            <a:endParaRPr lang="en-GB" sz="11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045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C520AD-85BE-4ED7-A74F-50228B934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7562"/>
            <a:ext cx="10515600" cy="651825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Agenda for </a:t>
            </a:r>
            <a:r>
              <a:rPr lang="fr-FR" sz="4000" dirty="0" err="1">
                <a:latin typeface="+mj-lt"/>
              </a:rPr>
              <a:t>this</a:t>
            </a:r>
            <a:r>
              <a:rPr lang="fr-FR" sz="4000" dirty="0">
                <a:latin typeface="+mj-lt"/>
              </a:rPr>
              <a:t> S2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748B34F-1557-4247-9F07-5BEAA158F7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05354"/>
            <a:ext cx="10515600" cy="4297920"/>
          </a:xfrm>
        </p:spPr>
        <p:txBody>
          <a:bodyPr>
            <a:noAutofit/>
          </a:bodyPr>
          <a:lstStyle/>
          <a:p>
            <a:pPr marL="622300" indent="-514350">
              <a:buFont typeface="+mj-lt"/>
              <a:buAutoNum type="arabicPeriod"/>
            </a:pPr>
            <a:r>
              <a:rPr lang="fr-FR" sz="3200" b="1" dirty="0" err="1">
                <a:solidFill>
                  <a:schemeClr val="bg1">
                    <a:lumMod val="10000"/>
                  </a:schemeClr>
                </a:solidFill>
              </a:rPr>
              <a:t>Finishing</a:t>
            </a:r>
            <a:r>
              <a:rPr lang="fr-FR" sz="3200" b="1" dirty="0">
                <a:solidFill>
                  <a:schemeClr val="bg1">
                    <a:lumMod val="10000"/>
                  </a:schemeClr>
                </a:solidFill>
              </a:rPr>
              <a:t> up </a:t>
            </a:r>
            <a:r>
              <a:rPr lang="fr-FR" sz="3200" b="1" dirty="0" err="1">
                <a:solidFill>
                  <a:schemeClr val="bg1">
                    <a:lumMod val="10000"/>
                  </a:schemeClr>
                </a:solidFill>
              </a:rPr>
              <a:t>with</a:t>
            </a:r>
            <a:r>
              <a:rPr lang="fr-FR" sz="3200" b="1" dirty="0">
                <a:solidFill>
                  <a:schemeClr val="bg1">
                    <a:lumMod val="10000"/>
                  </a:schemeClr>
                </a:solidFill>
              </a:rPr>
              <a:t> the </a:t>
            </a:r>
            <a:r>
              <a:rPr lang="fr-FR" sz="3200" b="1" dirty="0" err="1">
                <a:solidFill>
                  <a:schemeClr val="bg1">
                    <a:lumMod val="10000"/>
                  </a:schemeClr>
                </a:solidFill>
              </a:rPr>
              <a:t>exercises</a:t>
            </a:r>
            <a:endParaRPr lang="fr-FR" sz="3200" b="1" dirty="0">
              <a:solidFill>
                <a:schemeClr val="bg1">
                  <a:lumMod val="10000"/>
                </a:schemeClr>
              </a:solidFill>
            </a:endParaRP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Risk management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 err="1">
                <a:solidFill>
                  <a:schemeClr val="bg1">
                    <a:lumMod val="10000"/>
                  </a:schemeClr>
                </a:solidFill>
              </a:rPr>
              <a:t>Waterfall</a:t>
            </a: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 vs Agile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Gantt charts</a:t>
            </a:r>
          </a:p>
          <a:p>
            <a:pPr marL="622300" indent="-514350">
              <a:buFont typeface="+mj-lt"/>
              <a:buAutoNum type="arabicPeriod"/>
            </a:pPr>
            <a:r>
              <a:rPr lang="fr-FR" sz="3200" dirty="0">
                <a:solidFill>
                  <a:schemeClr val="bg1">
                    <a:lumMod val="10000"/>
                  </a:schemeClr>
                </a:solidFill>
              </a:rPr>
              <a:t>WB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CFC9A4-9001-475C-8C50-84EC9F117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nter your name in the footer</a:t>
            </a:r>
            <a:endParaRPr lang="fr-FR" dirty="0"/>
          </a:p>
        </p:txBody>
      </p:sp>
      <p:pic>
        <p:nvPicPr>
          <p:cNvPr id="5" name="Picture 2" descr="Making a Case for New Project Management Solutions">
            <a:extLst>
              <a:ext uri="{FF2B5EF4-FFF2-40B4-BE49-F238E27FC236}">
                <a16:creationId xmlns:a16="http://schemas.microsoft.com/office/drawing/2014/main" id="{C46EDEDA-0A14-93DB-01D9-29BABB332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5502" y="2115025"/>
            <a:ext cx="6576498" cy="3288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2754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A3EFE1-9D70-4CDB-6340-BCD762CC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fr-FR" sz="4000" dirty="0" err="1">
                <a:latin typeface="+mj-lt"/>
              </a:rPr>
              <a:t>Exercise</a:t>
            </a:r>
            <a:r>
              <a:rPr lang="fr-FR" sz="4000" dirty="0">
                <a:latin typeface="+mj-lt"/>
              </a:rPr>
              <a:t> – in team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5E220E0-E463-FF72-915F-84E45AFF6E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34115"/>
            <a:ext cx="10515600" cy="2614430"/>
          </a:xfrm>
        </p:spPr>
        <p:txBody>
          <a:bodyPr>
            <a:normAutofit/>
          </a:bodyPr>
          <a:lstStyle/>
          <a:p>
            <a:pPr marL="107950" indent="0">
              <a:buNone/>
            </a:pP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Wha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are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your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main </a:t>
            </a:r>
            <a:r>
              <a:rPr lang="fr-FR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roject</a:t>
            </a:r>
            <a:r>
              <a:rPr lang="fr-FR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challenges ?</a:t>
            </a:r>
          </a:p>
          <a:p>
            <a:pPr marL="107950" indent="0">
              <a:buNone/>
            </a:pPr>
            <a:endParaRPr lang="fr-FR" dirty="0">
              <a:solidFill>
                <a:schemeClr val="bg1">
                  <a:lumMod val="10000"/>
                </a:schemeClr>
              </a:solidFill>
              <a:latin typeface="+mj-lt"/>
            </a:endParaRPr>
          </a:p>
          <a:p>
            <a:pPr marL="107950" indent="0">
              <a:lnSpc>
                <a:spcPct val="110000"/>
              </a:lnSpc>
              <a:buNone/>
            </a:pPr>
            <a:r>
              <a:rPr lang="fr-FR" i="1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Please</a:t>
            </a:r>
            <a:r>
              <a:rPr lang="fr-FR" i="1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use the </a:t>
            </a:r>
            <a:r>
              <a:rPr lang="fr-FR" i="1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vocabulary</a:t>
            </a:r>
            <a:r>
              <a:rPr lang="fr-FR" i="1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 of the Principles and Performance </a:t>
            </a:r>
            <a:r>
              <a:rPr lang="fr-FR" i="1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Domains</a:t>
            </a:r>
            <a:r>
              <a:rPr lang="fr-FR" i="1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 ». 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0C745C-A79E-9032-937B-E2C9F59B7F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Indiquez votre nom dans le pied de page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7E5A7B9-92FC-ACB1-2568-FA86FD3451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858" y="1016950"/>
            <a:ext cx="2272720" cy="227272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9F68662-A2BD-2C0A-E729-985C8D6CA0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1267" y="3429000"/>
            <a:ext cx="2272720" cy="227272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8C322C0-87CB-DA7D-DA83-81A7D6A956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699" y="3731306"/>
            <a:ext cx="2063830" cy="227272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8CD209C7-5EE4-210B-EF01-ED93A34A9E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46491" y="3731306"/>
            <a:ext cx="2727166" cy="2452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9776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BF20F1-6461-4821-9316-FF9F0C34E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814" y="136525"/>
            <a:ext cx="11476893" cy="1325563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12 Principles and 8 performance </a:t>
            </a:r>
            <a:r>
              <a:rPr lang="fr-FR" sz="4000" dirty="0" err="1">
                <a:latin typeface="+mj-lt"/>
              </a:rPr>
              <a:t>domains</a:t>
            </a:r>
            <a:endParaRPr lang="fr-FR" sz="4000" dirty="0">
              <a:latin typeface="+mj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7A1B9B-506B-4D89-8496-5332F4414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814" y="1309688"/>
            <a:ext cx="11283462" cy="4622189"/>
          </a:xfrm>
          <a:noFill/>
        </p:spPr>
        <p:txBody>
          <a:bodyPr>
            <a:normAutofit fontScale="92500"/>
          </a:bodyPr>
          <a:lstStyle/>
          <a:p>
            <a:pPr marL="0" indent="0" algn="l">
              <a:lnSpc>
                <a:spcPct val="120000"/>
              </a:lnSpc>
              <a:buNone/>
            </a:pPr>
            <a:r>
              <a:rPr lang="en-US" sz="2800" b="1" i="0" dirty="0">
                <a:solidFill>
                  <a:srgbClr val="1A202C"/>
                </a:solidFill>
                <a:effectLst/>
                <a:latin typeface="+mj-lt"/>
              </a:rPr>
              <a:t>A principle </a:t>
            </a:r>
            <a:r>
              <a:rPr lang="en-US" sz="2800" i="0" dirty="0">
                <a:solidFill>
                  <a:srgbClr val="1A202C"/>
                </a:solidFill>
                <a:effectLst/>
                <a:latin typeface="+mj-lt"/>
              </a:rPr>
              <a:t>is a norm, rule, value or fundamental truth which serves as a </a:t>
            </a:r>
            <a:r>
              <a:rPr lang="en-US" sz="2800" i="0" u="sng" dirty="0">
                <a:solidFill>
                  <a:srgbClr val="1A202C"/>
                </a:solidFill>
                <a:effectLst/>
                <a:latin typeface="+mj-lt"/>
              </a:rPr>
              <a:t>guide for </a:t>
            </a:r>
            <a:r>
              <a:rPr lang="en-US" sz="2800" i="0" u="sng" dirty="0" err="1">
                <a:solidFill>
                  <a:srgbClr val="1A202C"/>
                </a:solidFill>
                <a:effectLst/>
                <a:latin typeface="+mj-lt"/>
              </a:rPr>
              <a:t>behaviour</a:t>
            </a:r>
            <a:r>
              <a:rPr lang="en-US" sz="2800" i="0" u="sng" dirty="0">
                <a:solidFill>
                  <a:srgbClr val="1A202C"/>
                </a:solidFill>
                <a:effectLst/>
                <a:latin typeface="+mj-lt"/>
              </a:rPr>
              <a:t> </a:t>
            </a:r>
            <a:r>
              <a:rPr lang="en-US" sz="2800" i="0" dirty="0">
                <a:solidFill>
                  <a:srgbClr val="1A202C"/>
                </a:solidFill>
                <a:effectLst/>
                <a:latin typeface="+mj-lt"/>
              </a:rPr>
              <a:t>or action.</a:t>
            </a:r>
          </a:p>
          <a:p>
            <a:pPr marL="0" indent="0" algn="l">
              <a:lnSpc>
                <a:spcPct val="120000"/>
              </a:lnSpc>
              <a:buNone/>
            </a:pPr>
            <a:r>
              <a:rPr lang="en-US" sz="2800" b="0" i="0" dirty="0">
                <a:solidFill>
                  <a:srgbClr val="1A202C"/>
                </a:solidFill>
                <a:effectLst/>
                <a:latin typeface="+mj-lt"/>
              </a:rPr>
              <a:t>Principles are not prescriptive. They don’t tell you how to do something. They simply underpin the things that you should be doing. </a:t>
            </a:r>
          </a:p>
          <a:p>
            <a:pPr marL="0" indent="0" algn="l">
              <a:lnSpc>
                <a:spcPct val="120000"/>
              </a:lnSpc>
              <a:buNone/>
            </a:pPr>
            <a:r>
              <a:rPr lang="en-US" sz="2800" b="0" i="0" dirty="0">
                <a:solidFill>
                  <a:srgbClr val="1A202C"/>
                </a:solidFill>
                <a:effectLst/>
                <a:latin typeface="+mj-lt"/>
              </a:rPr>
              <a:t>Principles are designed to inform your actions. They don’t prescribe your actions.</a:t>
            </a:r>
          </a:p>
          <a:p>
            <a:pPr marL="0" indent="0">
              <a:lnSpc>
                <a:spcPct val="120000"/>
              </a:lnSpc>
              <a:buNone/>
            </a:pPr>
            <a:endParaRPr lang="en-US" sz="2800" dirty="0">
              <a:latin typeface="+mj-lt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2800" b="1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A Project Performance Domain </a:t>
            </a:r>
            <a:r>
              <a:rPr lang="en-US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is a group of related activities that are critical for the effective delivery of project outcomes.</a:t>
            </a:r>
            <a:endParaRPr lang="fr-FR" sz="2800" dirty="0">
              <a:solidFill>
                <a:schemeClr val="bg1">
                  <a:lumMod val="10000"/>
                </a:schemeClr>
              </a:solidFill>
              <a:latin typeface="+mj-lt"/>
            </a:endParaRPr>
          </a:p>
          <a:p>
            <a:endParaRPr lang="fr-F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580915-590D-47D1-8DAC-7960D6D7D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Project Management 21-22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25159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FCDB55-34A3-4B07-8019-4A28B17F6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846" y="0"/>
            <a:ext cx="10515600" cy="1325563"/>
          </a:xfrm>
        </p:spPr>
        <p:txBody>
          <a:bodyPr>
            <a:normAutofit/>
          </a:bodyPr>
          <a:lstStyle/>
          <a:p>
            <a:r>
              <a:rPr lang="fr-FR" sz="4000" dirty="0">
                <a:latin typeface="+mj-lt"/>
              </a:rPr>
              <a:t>The 12 Princip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52E248-CED5-4BED-BA40-C616C467B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Project Management 21-22</a:t>
            </a:r>
            <a:endParaRPr lang="fr-FR" dirty="0"/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EC73C0C3-AC7E-481D-B2A6-D0E37A61B3DA}"/>
              </a:ext>
            </a:extLst>
          </p:cNvPr>
          <p:cNvGraphicFramePr>
            <a:graphicFrameLocks noGrp="1"/>
          </p:cNvGraphicFramePr>
          <p:nvPr/>
        </p:nvGraphicFramePr>
        <p:xfrm>
          <a:off x="175846" y="1082490"/>
          <a:ext cx="11218986" cy="4952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09493">
                  <a:extLst>
                    <a:ext uri="{9D8B030D-6E8A-4147-A177-3AD203B41FA5}">
                      <a16:colId xmlns:a16="http://schemas.microsoft.com/office/drawing/2014/main" val="373064719"/>
                    </a:ext>
                  </a:extLst>
                </a:gridCol>
                <a:gridCol w="5609493">
                  <a:extLst>
                    <a:ext uri="{9D8B030D-6E8A-4147-A177-3AD203B41FA5}">
                      <a16:colId xmlns:a16="http://schemas.microsoft.com/office/drawing/2014/main" val="6574434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200000"/>
                        </a:lnSpc>
                        <a:buFont typeface="+mj-lt"/>
                        <a:buNone/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Success</a:t>
                      </a: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 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Communication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2355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200000"/>
                        </a:lnSpc>
                        <a:buFont typeface="+mj-lt"/>
                        <a:buNone/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Project Manager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Progress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1875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200000"/>
                        </a:lnSpc>
                        <a:buFont typeface="+mj-lt"/>
                        <a:buNone/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Commitment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Lifecycle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851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200000"/>
                        </a:lnSpc>
                        <a:buFont typeface="+mj-lt"/>
                        <a:buNone/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Structure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Culture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8774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200000"/>
                        </a:lnSpc>
                        <a:buFont typeface="+mj-lt"/>
                        <a:buNone/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Definition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Risk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0686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200000"/>
                        </a:lnSpc>
                        <a:buFont typeface="+mj-lt"/>
                        <a:buNone/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Transparency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lang="fr-FR" sz="2800" b="0" dirty="0" err="1">
                          <a:solidFill>
                            <a:schemeClr val="bg1">
                              <a:lumMod val="10000"/>
                            </a:schemeClr>
                          </a:solidFill>
                          <a:latin typeface="+mj-lt"/>
                        </a:rPr>
                        <a:t>Accountability</a:t>
                      </a:r>
                      <a:endParaRPr lang="fr-FR" sz="2800" b="0" dirty="0">
                        <a:solidFill>
                          <a:schemeClr val="bg1">
                            <a:lumMod val="1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467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01073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2F10176D-0EDA-4639-8F6B-6AFFB11D8F09}"/>
              </a:ext>
            </a:extLst>
          </p:cNvPr>
          <p:cNvSpPr/>
          <p:nvPr/>
        </p:nvSpPr>
        <p:spPr>
          <a:xfrm>
            <a:off x="5419452" y="161064"/>
            <a:ext cx="1714500" cy="16383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7212FCD-358A-42DE-A5CA-0E53B77EEA86}"/>
              </a:ext>
            </a:extLst>
          </p:cNvPr>
          <p:cNvSpPr/>
          <p:nvPr/>
        </p:nvSpPr>
        <p:spPr>
          <a:xfrm>
            <a:off x="8559209" y="2656885"/>
            <a:ext cx="1714500" cy="16383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6ACB460-FC5E-425F-9E05-2E17E8CDE3B2}"/>
              </a:ext>
            </a:extLst>
          </p:cNvPr>
          <p:cNvSpPr/>
          <p:nvPr/>
        </p:nvSpPr>
        <p:spPr>
          <a:xfrm>
            <a:off x="7854359" y="4776791"/>
            <a:ext cx="1714500" cy="16383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CDD3F31-514F-4365-AF54-F3A0C24B4E33}"/>
              </a:ext>
            </a:extLst>
          </p:cNvPr>
          <p:cNvSpPr/>
          <p:nvPr/>
        </p:nvSpPr>
        <p:spPr>
          <a:xfrm>
            <a:off x="7623122" y="847036"/>
            <a:ext cx="1714500" cy="16383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B8646C3-2398-4D99-92B2-8284066062FD}"/>
              </a:ext>
            </a:extLst>
          </p:cNvPr>
          <p:cNvSpPr/>
          <p:nvPr/>
        </p:nvSpPr>
        <p:spPr>
          <a:xfrm>
            <a:off x="5419452" y="5230074"/>
            <a:ext cx="1714500" cy="16383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5448582-D696-45B3-9E02-0DA9ACB16A75}"/>
              </a:ext>
            </a:extLst>
          </p:cNvPr>
          <p:cNvSpPr/>
          <p:nvPr/>
        </p:nvSpPr>
        <p:spPr>
          <a:xfrm>
            <a:off x="3160185" y="4805942"/>
            <a:ext cx="1714500" cy="16383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AB95E0A-BE57-425B-94AC-DD930E842449}"/>
              </a:ext>
            </a:extLst>
          </p:cNvPr>
          <p:cNvSpPr/>
          <p:nvPr/>
        </p:nvSpPr>
        <p:spPr>
          <a:xfrm>
            <a:off x="2153310" y="2854841"/>
            <a:ext cx="1714500" cy="16383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7DCC6A5-228D-4AE6-B830-653ECEC95FCC}"/>
              </a:ext>
            </a:extLst>
          </p:cNvPr>
          <p:cNvSpPr/>
          <p:nvPr/>
        </p:nvSpPr>
        <p:spPr>
          <a:xfrm>
            <a:off x="2977040" y="1007143"/>
            <a:ext cx="1714500" cy="16383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0BADBAC-68D8-4C5A-A806-25138FAF1707}"/>
              </a:ext>
            </a:extLst>
          </p:cNvPr>
          <p:cNvSpPr/>
          <p:nvPr/>
        </p:nvSpPr>
        <p:spPr>
          <a:xfrm>
            <a:off x="5040080" y="2335984"/>
            <a:ext cx="2473244" cy="2376487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24C61C7-06EA-42EA-8DB2-5B7520C7055B}"/>
              </a:ext>
            </a:extLst>
          </p:cNvPr>
          <p:cNvSpPr txBox="1"/>
          <p:nvPr/>
        </p:nvSpPr>
        <p:spPr>
          <a:xfrm>
            <a:off x="5246774" y="2768481"/>
            <a:ext cx="205985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8 Project</a:t>
            </a:r>
          </a:p>
          <a:p>
            <a:pPr algn="ctr"/>
            <a:r>
              <a:rPr lang="fr-FR" sz="2800" dirty="0">
                <a:solidFill>
                  <a:schemeClr val="bg1">
                    <a:lumMod val="10000"/>
                  </a:schemeClr>
                </a:solidFill>
                <a:latin typeface="+mj-lt"/>
              </a:rPr>
              <a:t>Performance</a:t>
            </a:r>
          </a:p>
          <a:p>
            <a:pPr algn="ctr"/>
            <a:r>
              <a:rPr lang="fr-FR" sz="2800" dirty="0" err="1">
                <a:solidFill>
                  <a:schemeClr val="bg1">
                    <a:lumMod val="10000"/>
                  </a:schemeClr>
                </a:solidFill>
                <a:latin typeface="+mj-lt"/>
              </a:rPr>
              <a:t>Domains</a:t>
            </a:r>
            <a:endParaRPr lang="fr-FR" sz="2800" dirty="0">
              <a:solidFill>
                <a:schemeClr val="bg1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531F3EC-98FC-4154-91F2-18C6F638FBC7}"/>
              </a:ext>
            </a:extLst>
          </p:cNvPr>
          <p:cNvSpPr txBox="1"/>
          <p:nvPr/>
        </p:nvSpPr>
        <p:spPr>
          <a:xfrm>
            <a:off x="8078697" y="1476051"/>
            <a:ext cx="8545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/>
              <a:t>Tea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DF8F22-D223-4C8E-88B7-2187549E884B}"/>
              </a:ext>
            </a:extLst>
          </p:cNvPr>
          <p:cNvSpPr txBox="1"/>
          <p:nvPr/>
        </p:nvSpPr>
        <p:spPr>
          <a:xfrm>
            <a:off x="5460995" y="776310"/>
            <a:ext cx="16729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/>
              <a:t>Stakehol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CA95BA7-1EBD-4FF2-B6C9-3481E75E85EB}"/>
              </a:ext>
            </a:extLst>
          </p:cNvPr>
          <p:cNvSpPr txBox="1"/>
          <p:nvPr/>
        </p:nvSpPr>
        <p:spPr>
          <a:xfrm>
            <a:off x="2970842" y="1666186"/>
            <a:ext cx="16527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 err="1"/>
              <a:t>Uncertainty</a:t>
            </a:r>
            <a:endParaRPr lang="fr-FR" sz="2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30EA4F-5677-40C1-9AC3-8BF196B9D6A2}"/>
              </a:ext>
            </a:extLst>
          </p:cNvPr>
          <p:cNvSpPr txBox="1"/>
          <p:nvPr/>
        </p:nvSpPr>
        <p:spPr>
          <a:xfrm>
            <a:off x="5419452" y="5850123"/>
            <a:ext cx="17622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/>
              <a:t>Project </a:t>
            </a:r>
            <a:r>
              <a:rPr lang="fr-FR" sz="2400" dirty="0" err="1"/>
              <a:t>work</a:t>
            </a:r>
            <a:endParaRPr lang="fr-FR" sz="24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3209FB6-A0BA-4910-9DA7-DB8FB6879443}"/>
              </a:ext>
            </a:extLst>
          </p:cNvPr>
          <p:cNvSpPr txBox="1"/>
          <p:nvPr/>
        </p:nvSpPr>
        <p:spPr>
          <a:xfrm>
            <a:off x="3423721" y="5434132"/>
            <a:ext cx="12074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/>
              <a:t>Deliver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49A79-C005-409F-8634-F59ECA3DDA47}"/>
              </a:ext>
            </a:extLst>
          </p:cNvPr>
          <p:cNvSpPr txBox="1"/>
          <p:nvPr/>
        </p:nvSpPr>
        <p:spPr>
          <a:xfrm>
            <a:off x="2080177" y="3476035"/>
            <a:ext cx="18607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/>
              <a:t>Manageme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A42499-41FA-4BE6-8EA9-0C2214D85D21}"/>
              </a:ext>
            </a:extLst>
          </p:cNvPr>
          <p:cNvSpPr txBox="1"/>
          <p:nvPr/>
        </p:nvSpPr>
        <p:spPr>
          <a:xfrm>
            <a:off x="8105442" y="5394259"/>
            <a:ext cx="12618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/>
              <a:t>Plann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DFEEBAF-3EE7-4D0B-A152-F1CA5D5B43ED}"/>
              </a:ext>
            </a:extLst>
          </p:cNvPr>
          <p:cNvSpPr txBox="1"/>
          <p:nvPr/>
        </p:nvSpPr>
        <p:spPr>
          <a:xfrm>
            <a:off x="8640604" y="3051551"/>
            <a:ext cx="171547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 err="1"/>
              <a:t>Approach</a:t>
            </a:r>
            <a:r>
              <a:rPr lang="fr-FR" sz="2400" dirty="0"/>
              <a:t> &amp;</a:t>
            </a:r>
          </a:p>
          <a:p>
            <a:pPr algn="ctr"/>
            <a:r>
              <a:rPr lang="fr-FR" sz="2400" dirty="0"/>
              <a:t>Life cyc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62DF087-7582-498A-9C2B-6463E952A7AA}"/>
              </a:ext>
            </a:extLst>
          </p:cNvPr>
          <p:cNvCxnSpPr>
            <a:stCxn id="16" idx="6"/>
          </p:cNvCxnSpPr>
          <p:nvPr/>
        </p:nvCxnSpPr>
        <p:spPr>
          <a:xfrm flipV="1">
            <a:off x="7513324" y="3524227"/>
            <a:ext cx="1045885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50B85B1-B1CA-4E6B-849F-A730E1B9B73E}"/>
              </a:ext>
            </a:extLst>
          </p:cNvPr>
          <p:cNvCxnSpPr>
            <a:cxnSpLocks/>
          </p:cNvCxnSpPr>
          <p:nvPr/>
        </p:nvCxnSpPr>
        <p:spPr>
          <a:xfrm flipV="1">
            <a:off x="3797222" y="3673992"/>
            <a:ext cx="1277171" cy="328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B363A6E-9658-4BD6-80DD-6028E71C0CFC}"/>
              </a:ext>
            </a:extLst>
          </p:cNvPr>
          <p:cNvCxnSpPr>
            <a:cxnSpLocks/>
            <a:stCxn id="16" idx="4"/>
            <a:endCxn id="12" idx="0"/>
          </p:cNvCxnSpPr>
          <p:nvPr/>
        </p:nvCxnSpPr>
        <p:spPr>
          <a:xfrm>
            <a:off x="6276702" y="4712471"/>
            <a:ext cx="0" cy="5176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BA357FD-6EA9-423A-B857-AC0A7DF9158B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7054384" y="4357637"/>
            <a:ext cx="1051058" cy="6590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A8E8D09-6382-44A7-8B9E-D4C9321D869F}"/>
              </a:ext>
            </a:extLst>
          </p:cNvPr>
          <p:cNvCxnSpPr>
            <a:cxnSpLocks/>
            <a:endCxn id="11" idx="3"/>
          </p:cNvCxnSpPr>
          <p:nvPr/>
        </p:nvCxnSpPr>
        <p:spPr>
          <a:xfrm flipV="1">
            <a:off x="7142781" y="2245413"/>
            <a:ext cx="731424" cy="4987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B8CD4F2-FF3C-4BF3-B8E1-2D6ACEE13886}"/>
              </a:ext>
            </a:extLst>
          </p:cNvPr>
          <p:cNvCxnSpPr>
            <a:cxnSpLocks/>
          </p:cNvCxnSpPr>
          <p:nvPr/>
        </p:nvCxnSpPr>
        <p:spPr>
          <a:xfrm>
            <a:off x="6276702" y="1818381"/>
            <a:ext cx="0" cy="5176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7A2A094-68A5-4B50-9702-B2FC543B3A89}"/>
              </a:ext>
            </a:extLst>
          </p:cNvPr>
          <p:cNvCxnSpPr>
            <a:cxnSpLocks/>
            <a:stCxn id="13" idx="7"/>
          </p:cNvCxnSpPr>
          <p:nvPr/>
        </p:nvCxnSpPr>
        <p:spPr>
          <a:xfrm flipV="1">
            <a:off x="4623602" y="4387145"/>
            <a:ext cx="820073" cy="6587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A599FD2-DA79-49A7-97CE-369897773112}"/>
              </a:ext>
            </a:extLst>
          </p:cNvPr>
          <p:cNvCxnSpPr>
            <a:cxnSpLocks/>
          </p:cNvCxnSpPr>
          <p:nvPr/>
        </p:nvCxnSpPr>
        <p:spPr>
          <a:xfrm>
            <a:off x="4501512" y="2343909"/>
            <a:ext cx="857539" cy="4836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509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heme/theme1.xml><?xml version="1.0" encoding="utf-8"?>
<a:theme xmlns:a="http://schemas.openxmlformats.org/drawingml/2006/main" name="masque1">
  <a:themeElements>
    <a:clrScheme name="Personnalisé 1">
      <a:dk1>
        <a:srgbClr val="002266"/>
      </a:dk1>
      <a:lt1>
        <a:srgbClr val="F8F8F8"/>
      </a:lt1>
      <a:dk2>
        <a:srgbClr val="000099"/>
      </a:dk2>
      <a:lt2>
        <a:srgbClr val="ABCFE5"/>
      </a:lt2>
      <a:accent1>
        <a:srgbClr val="E00016"/>
      </a:accent1>
      <a:accent2>
        <a:srgbClr val="EE754D"/>
      </a:accent2>
      <a:accent3>
        <a:srgbClr val="BFC3CC"/>
      </a:accent3>
      <a:accent4>
        <a:srgbClr val="FFC000"/>
      </a:accent4>
      <a:accent5>
        <a:srgbClr val="006699"/>
      </a:accent5>
      <a:accent6>
        <a:srgbClr val="A1C854"/>
      </a:accent6>
      <a:hlink>
        <a:srgbClr val="0563C1"/>
      </a:hlink>
      <a:folHlink>
        <a:srgbClr val="EA5153"/>
      </a:folHlink>
    </a:clrScheme>
    <a:fontScheme name="Personnalisé 1">
      <a:majorFont>
        <a:latin typeface="AvenirNext LT Pro Bold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DBD1D096861347A9D02859E2ED7DBC" ma:contentTypeVersion="16" ma:contentTypeDescription="Crée un document." ma:contentTypeScope="" ma:versionID="c019aae5bbe348cd104c4880d0c16bee">
  <xsd:schema xmlns:xsd="http://www.w3.org/2001/XMLSchema" xmlns:xs="http://www.w3.org/2001/XMLSchema" xmlns:p="http://schemas.microsoft.com/office/2006/metadata/properties" xmlns:ns2="43f562d2-7457-4404-91ca-c6b53a7ab3aa" xmlns:ns3="b2d4d463-55fe-4936-bf1e-05967041f521" targetNamespace="http://schemas.microsoft.com/office/2006/metadata/properties" ma:root="true" ma:fieldsID="ec73bae91e653de09bc4e96c7737b1e0" ns2:_="" ns3:_="">
    <xsd:import namespace="43f562d2-7457-4404-91ca-c6b53a7ab3aa"/>
    <xsd:import namespace="b2d4d463-55fe-4936-bf1e-05967041f5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f562d2-7457-4404-91ca-c6b53a7ab3a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a7bd99a9-2a28-42c7-8490-6b314b9225c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d4d463-55fe-4936-bf1e-05967041f52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3fa9732-cda1-4afc-b0ee-42708d3184d5}" ma:internalName="TaxCatchAll" ma:showField="CatchAllData" ma:web="b2d4d463-55fe-4936-bf1e-05967041f5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f562d2-7457-4404-91ca-c6b53a7ab3aa">
      <Terms xmlns="http://schemas.microsoft.com/office/infopath/2007/PartnerControls"/>
    </lcf76f155ced4ddcb4097134ff3c332f>
    <TaxCatchAll xmlns="b2d4d463-55fe-4936-bf1e-05967041f521" xsi:nil="true"/>
  </documentManagement>
</p:properties>
</file>

<file path=customXml/itemProps1.xml><?xml version="1.0" encoding="utf-8"?>
<ds:datastoreItem xmlns:ds="http://schemas.openxmlformats.org/officeDocument/2006/customXml" ds:itemID="{D8F5D12E-5604-430A-9F5C-65DC0D5549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f562d2-7457-4404-91ca-c6b53a7ab3aa"/>
    <ds:schemaRef ds:uri="b2d4d463-55fe-4936-bf1e-05967041f5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11D748E-8AB9-47FA-9F0F-AF7FBF1F89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CBBE77A-A6A4-4257-9CEA-47ECFC6C4921}">
  <ds:schemaRefs>
    <ds:schemaRef ds:uri="http://schemas.microsoft.com/office/infopath/2007/PartnerControls"/>
    <ds:schemaRef ds:uri="http://schemas.microsoft.com/office/2006/documentManagement/types"/>
    <ds:schemaRef ds:uri="b2d4d463-55fe-4936-bf1e-05967041f521"/>
    <ds:schemaRef ds:uri="http://schemas.openxmlformats.org/package/2006/metadata/core-properties"/>
    <ds:schemaRef ds:uri="http://purl.org/dc/dcmitype/"/>
    <ds:schemaRef ds:uri="43f562d2-7457-4404-91ca-c6b53a7ab3aa"/>
    <ds:schemaRef ds:uri="http://schemas.microsoft.com/office/2006/metadata/properties"/>
    <ds:schemaRef ds:uri="http://www.w3.org/XML/1998/namespace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29</TotalTime>
  <Words>1647</Words>
  <Application>Microsoft Office PowerPoint</Application>
  <PresentationFormat>Grand écran</PresentationFormat>
  <Paragraphs>336</Paragraphs>
  <Slides>37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7</vt:i4>
      </vt:variant>
    </vt:vector>
  </HeadingPairs>
  <TitlesOfParts>
    <vt:vector size="50" baseType="lpstr">
      <vt:lpstr>Arial</vt:lpstr>
      <vt:lpstr>Avenir LT Std 45 Book</vt:lpstr>
      <vt:lpstr>Avenir LT Std 85 Heavy</vt:lpstr>
      <vt:lpstr>Avenir Next LT Pro</vt:lpstr>
      <vt:lpstr>AvenirNext LT Pro Bold</vt:lpstr>
      <vt:lpstr>Calibri</vt:lpstr>
      <vt:lpstr>MADE Outer Sans</vt:lpstr>
      <vt:lpstr>Roboto</vt:lpstr>
      <vt:lpstr>Tahoma</vt:lpstr>
      <vt:lpstr>Times New Roman</vt:lpstr>
      <vt:lpstr>Wingdings</vt:lpstr>
      <vt:lpstr>masque1</vt:lpstr>
      <vt:lpstr>think-cell Slide</vt:lpstr>
      <vt:lpstr>Présentation PowerPoint</vt:lpstr>
      <vt:lpstr>Présentation PowerPoint</vt:lpstr>
      <vt:lpstr>Reminder: Project Management : a 3-Phase Approach  </vt:lpstr>
      <vt:lpstr>Friday = Change Management : a 4-phase approach</vt:lpstr>
      <vt:lpstr>Agenda for this S2</vt:lpstr>
      <vt:lpstr>Exercise – in teams</vt:lpstr>
      <vt:lpstr>12 Principles and 8 performance domains</vt:lpstr>
      <vt:lpstr>The 12 Principles</vt:lpstr>
      <vt:lpstr>Présentation PowerPoint</vt:lpstr>
      <vt:lpstr>Exercise – in teams</vt:lpstr>
      <vt:lpstr>RACI</vt:lpstr>
      <vt:lpstr>Exercise – in teams</vt:lpstr>
      <vt:lpstr>Stakeholder analysis</vt:lpstr>
      <vt:lpstr>Five steps</vt:lpstr>
      <vt:lpstr>A table</vt:lpstr>
      <vt:lpstr>Agenda for this S2</vt:lpstr>
      <vt:lpstr>Risk sources</vt:lpstr>
      <vt:lpstr>Risk categories</vt:lpstr>
      <vt:lpstr>Risk exposure</vt:lpstr>
      <vt:lpstr>Risk impact – on 3 levels</vt:lpstr>
      <vt:lpstr>Risk occurrence: timeframe</vt:lpstr>
      <vt:lpstr>Présentation PowerPoint</vt:lpstr>
      <vt:lpstr>Agenda for this S2</vt:lpstr>
      <vt:lpstr>Please watch</vt:lpstr>
      <vt:lpstr>Possible learnings</vt:lpstr>
      <vt:lpstr>Exercise – in teams</vt:lpstr>
      <vt:lpstr>Agenda for this S2</vt:lpstr>
      <vt:lpstr>The GANTT Chart</vt:lpstr>
      <vt:lpstr>This is what it might look like</vt:lpstr>
      <vt:lpstr>Exercise – in teams</vt:lpstr>
      <vt:lpstr>Please watch</vt:lpstr>
      <vt:lpstr>Agenda for this S2</vt:lpstr>
      <vt:lpstr>WBS</vt:lpstr>
      <vt:lpstr>Présentation PowerPoint</vt:lpstr>
      <vt:lpstr>Présentation PowerPoint</vt:lpstr>
      <vt:lpstr>Work for Friday: the A-Z of project manageme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HIEU Adeline</dc:creator>
  <cp:lastModifiedBy>FONTEIJN Robert</cp:lastModifiedBy>
  <cp:revision>152</cp:revision>
  <dcterms:created xsi:type="dcterms:W3CDTF">2022-01-04T13:18:55Z</dcterms:created>
  <dcterms:modified xsi:type="dcterms:W3CDTF">2023-04-05T11:0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DBD1D096861347A9D02859E2ED7DBC</vt:lpwstr>
  </property>
</Properties>
</file>